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405" r:id="rId2"/>
    <p:sldId id="406" r:id="rId3"/>
    <p:sldId id="407" r:id="rId4"/>
    <p:sldId id="408" r:id="rId5"/>
    <p:sldId id="344" r:id="rId6"/>
    <p:sldId id="345" r:id="rId7"/>
    <p:sldId id="347" r:id="rId8"/>
    <p:sldId id="348" r:id="rId9"/>
    <p:sldId id="409" r:id="rId10"/>
    <p:sldId id="349" r:id="rId11"/>
    <p:sldId id="364" r:id="rId12"/>
    <p:sldId id="412" r:id="rId13"/>
    <p:sldId id="351" r:id="rId14"/>
    <p:sldId id="369" r:id="rId15"/>
    <p:sldId id="372" r:id="rId16"/>
    <p:sldId id="373" r:id="rId17"/>
    <p:sldId id="413" r:id="rId18"/>
    <p:sldId id="380" r:id="rId19"/>
    <p:sldId id="388" r:id="rId20"/>
    <p:sldId id="389" r:id="rId21"/>
    <p:sldId id="381" r:id="rId22"/>
    <p:sldId id="399" r:id="rId23"/>
    <p:sldId id="400" r:id="rId24"/>
    <p:sldId id="356" r:id="rId25"/>
    <p:sldId id="393" r:id="rId26"/>
    <p:sldId id="394" r:id="rId27"/>
    <p:sldId id="395" r:id="rId28"/>
    <p:sldId id="396" r:id="rId29"/>
  </p:sldIdLst>
  <p:sldSz cx="9144000" cy="6858000" type="screen4x3"/>
  <p:notesSz cx="6669088" cy="97758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400" autoAdjust="0"/>
  </p:normalViewPr>
  <p:slideViewPr>
    <p:cSldViewPr>
      <p:cViewPr>
        <p:scale>
          <a:sx n="110" d="100"/>
          <a:sy n="110" d="100"/>
        </p:scale>
        <p:origin x="-571" y="-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568" cy="488792"/>
          </a:xfrm>
          <a:prstGeom prst="rect">
            <a:avLst/>
          </a:prstGeom>
        </p:spPr>
        <p:txBody>
          <a:bodyPr vert="horz" lIns="90582" tIns="45291" rIns="90582" bIns="4529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6946" y="0"/>
            <a:ext cx="2890568" cy="488792"/>
          </a:xfrm>
          <a:prstGeom prst="rect">
            <a:avLst/>
          </a:prstGeom>
        </p:spPr>
        <p:txBody>
          <a:bodyPr vert="horz" lIns="90582" tIns="45291" rIns="90582" bIns="45291" rtlCol="0"/>
          <a:lstStyle>
            <a:lvl1pPr algn="r">
              <a:defRPr sz="1200"/>
            </a:lvl1pPr>
          </a:lstStyle>
          <a:p>
            <a:fld id="{625D75EE-CD0C-44D9-91C9-98AB60670ABB}" type="datetimeFigureOut">
              <a:rPr lang="ru-RU" smtClean="0"/>
              <a:pPr/>
              <a:t>28.09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285462"/>
            <a:ext cx="2890568" cy="488792"/>
          </a:xfrm>
          <a:prstGeom prst="rect">
            <a:avLst/>
          </a:prstGeom>
        </p:spPr>
        <p:txBody>
          <a:bodyPr vert="horz" lIns="90582" tIns="45291" rIns="90582" bIns="4529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6946" y="9285462"/>
            <a:ext cx="2890568" cy="488792"/>
          </a:xfrm>
          <a:prstGeom prst="rect">
            <a:avLst/>
          </a:prstGeom>
        </p:spPr>
        <p:txBody>
          <a:bodyPr vert="horz" lIns="90582" tIns="45291" rIns="90582" bIns="45291" rtlCol="0" anchor="b"/>
          <a:lstStyle>
            <a:lvl1pPr algn="r">
              <a:defRPr sz="1200"/>
            </a:lvl1pPr>
          </a:lstStyle>
          <a:p>
            <a:fld id="{B5CF030B-1784-449A-AA68-5CB5423AD9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82568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889937" cy="488792"/>
          </a:xfrm>
          <a:prstGeom prst="rect">
            <a:avLst/>
          </a:prstGeom>
        </p:spPr>
        <p:txBody>
          <a:bodyPr vert="horz" lIns="89851" tIns="44924" rIns="89851" bIns="4492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7612" y="1"/>
            <a:ext cx="2889937" cy="488792"/>
          </a:xfrm>
          <a:prstGeom prst="rect">
            <a:avLst/>
          </a:prstGeom>
        </p:spPr>
        <p:txBody>
          <a:bodyPr vert="horz" lIns="89851" tIns="44924" rIns="89851" bIns="44924" rtlCol="0"/>
          <a:lstStyle>
            <a:lvl1pPr algn="r">
              <a:defRPr sz="1200"/>
            </a:lvl1pPr>
          </a:lstStyle>
          <a:p>
            <a:fld id="{7D47EA96-AAE7-4955-9CB7-9953711D4C87}" type="datetimeFigureOut">
              <a:rPr lang="ru-RU" smtClean="0"/>
              <a:pPr/>
              <a:t>28.09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0588" y="733425"/>
            <a:ext cx="4887912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851" tIns="44924" rIns="89851" bIns="4492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910" y="4643519"/>
            <a:ext cx="5335270" cy="4399121"/>
          </a:xfrm>
          <a:prstGeom prst="rect">
            <a:avLst/>
          </a:prstGeom>
        </p:spPr>
        <p:txBody>
          <a:bodyPr vert="horz" lIns="89851" tIns="44924" rIns="89851" bIns="4492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285341"/>
            <a:ext cx="2889937" cy="488792"/>
          </a:xfrm>
          <a:prstGeom prst="rect">
            <a:avLst/>
          </a:prstGeom>
        </p:spPr>
        <p:txBody>
          <a:bodyPr vert="horz" lIns="89851" tIns="44924" rIns="89851" bIns="4492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7612" y="9285341"/>
            <a:ext cx="2889937" cy="488792"/>
          </a:xfrm>
          <a:prstGeom prst="rect">
            <a:avLst/>
          </a:prstGeom>
        </p:spPr>
        <p:txBody>
          <a:bodyPr vert="horz" lIns="89851" tIns="44924" rIns="89851" bIns="44924" rtlCol="0" anchor="b"/>
          <a:lstStyle>
            <a:lvl1pPr algn="r">
              <a:defRPr sz="1200"/>
            </a:lvl1pPr>
          </a:lstStyle>
          <a:p>
            <a:fld id="{A45BD122-3C11-47CC-94B9-345B5D35476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49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9220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DBEF1D2-24C7-4DAB-BFDD-245AFDAC6D4C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397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61444" name="Номер слайда 3"/>
          <p:cNvSpPr>
            <a:spLocks noGrp="1"/>
          </p:cNvSpPr>
          <p:nvPr>
            <p:ph type="sldNum" sz="quarter" idx="5"/>
          </p:nvPr>
        </p:nvSpPr>
        <p:spPr>
          <a:extLst/>
        </p:spPr>
        <p:txBody>
          <a:bodyPr/>
          <a:lstStyle>
            <a:lvl1pPr defTabSz="9124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634" indent="-285628" defTabSz="9124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2514" indent="-228502" defTabSz="9124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99520" indent="-228502" defTabSz="9124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6525" indent="-228502" defTabSz="9124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3532" indent="-228502" defTabSz="912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0537" indent="-228502" defTabSz="912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7542" indent="-228502" defTabSz="912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4549" indent="-228502" defTabSz="912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36CD4283-C140-487E-8C75-5645F90CE21B}" type="slidenum">
              <a:rPr lang="ru-RU" altLang="ru-RU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  <a:defRPr/>
              </a:pPr>
              <a:t>2</a:t>
            </a:fld>
            <a:endParaRPr lang="ru-RU" alt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Федеральный закон от 29.12 2012 № 273-ФЗ «Об образовании в Российской Федерации» закрепляет нормы дополнительного профессионального образования в условиях непрерывного профессионального развития. Непрерывное профессиональное образование медицинских работников -система образования, обеспечивающая непрерывное совершенствование профессиональных знаний и навыков в течение всей жизни, а также постоянное повышение профессионального уровня и расширение профессиональных компетенций. Повышение квалификации в рамках системы непрерывного профессионального образования применяет вариативный подход: на базе образовательных учреждений (практические занятия, лекции, семинары), самостоятельное обучение (посещение конференций и семинаров, написание научных работ, чтение медицинских журналов и национальных руководств), дистанционное обучение (формирование образовательного 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портфолио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, освоение дистанционных образовательных модулей с итоговыми тестами для контроля) коллегиальное обсуждение и разборы сложных случаев на рабочих местах. Новый подход в системе подготовки медицинских работников включает изучение клинических рекомендаций и является формирующим фактором приобретения необходимых профессиональных знаний и навыков, помогающих врачам принимать правильные клинические решения. Медицинский работник после регистрации на Портале самостоятельно формирует свою образовательную траекторию с учетом осуществляемой профессиональной деятельности, включающую индивидуальный план. Компонентами индивидуального плана являются различные виды образовательной активности, информация о которых размещена на Портале: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дополнительные профессиональные программы повышения квалификации непрерывного образования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 трудоемкостью 18 или 36 академических часов, реализуемые организациями, осуществляющими образовательную деятельность и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образовательные мероприятия,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к которым относятся очные образовательные мероприятия (конференции, семинары, мастер-классы и т.п., в том числе проводимые с использованием дистанционных образовательных технологий (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вебинары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)) и заочные образовательные мероприятия (дистанционные интерактивные образовательные модули и электронные образовательные курсы, разработанные по клиническим рекомендациям), реализуемые различными организациями, в том числе профессиональными некоммерческими организациями. Приказом Минздрава России от 18.02.2013 № 82 «О Координационном совете по развитию непрерывного медицинского и фармацевтического образования Министерства здравоохранения Российской Федерации» Координационный совет по развитию непрерывного медицинского и фармацевтического образования является самостоятельным совещательным и координационным органом, созданным в целях координации деятельности и оптимизации сотрудничества, в том числе с общественными организациями, союзами, ассоциациями отрасли здравоохранения по развитию структуры и содержания непрерывного медицинского и фармацевтического образования. 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Данный орган осуществляет свою деятельность на принципах  равноправия его членов, коллегиальности и гласности. 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Медицинские профессиональные некоммерческие организации представляют два компонента образовательной программы в объеме не менее 36 часов: электронные образовательные модули для самостоятельной подготовки обучающихся (в объеме не менее 20 часов) и образовательные мероприятия (не менее 16 часов). Для включения в систему по непрерывному медицинскому образованию некоммерческой организацией направляется необходимый пакет документов в секретариат Координационного совета. Оценка компонентов образовательной программы осуществляется Комиссией по оценке образовательных мероприятий и материалов установленным требованиям Координационного совета по развитию непрерывного медицинского и фармацевтического образования в соответствии с Порядком оценки учебных мероприятий и материалов, подготовленных общественными профессиональными организациями на соответствие установленным требованиям.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 </a:t>
            </a: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BD122-3C11-47CC-94B9-345B5D354764}" type="slidenum">
              <a:rPr lang="ru-RU" smtClean="0"/>
              <a:pPr/>
              <a:t>18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1126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059DB1C-E77B-40DF-B35A-985ED9DBB030}" type="slidenum">
              <a:rPr lang="ru-RU" altLang="ru-RU"/>
              <a:pPr/>
              <a:t>19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1331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98333E0-A186-4AEB-B5C1-316E8A622FFA}" type="slidenum">
              <a:rPr lang="ru-RU" altLang="ru-RU"/>
              <a:pPr/>
              <a:t>20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Новое понятие «профессиональный стандарт» появилось в Трудовом кодексе Российской Федерации в 2012 году.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 Профессиональный стандарт - это характеристика квалификации, необходимая работнику для осуществления определенной профессиональной деятельности. Профессиональные стандарты разрабатываются профессиональными объединениями и объединениями работодателей,  координирует  работу Минтруда России.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На основании профессиональных стандартов разрабатываются должностные обязанности,  федеральные государственные образовательные стандарты, профессиональные программы дополнительного образования -программы повышения квалификации, а также иные учебные материалы. 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В настоящее время основные новации медицинского образования связаны с резким возрастанием роли профессиональных сообществ  в системе подготовке. Профессиональные сообщества  рассматриваются как объединения медицинских и фармацевтических работников, основными принципами создания и деятельности которых являются добровольность участия и самоорганизация. Их участие в обучении медицинских работников как традиционных курсов повышения квалификации так и  различных инновационных образовательных форм  только увеличивается. 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Непрерывное образование определяет рабочее место как мощную образовательную среду для индивидуального и группового обучения, а широкомасштабное ее внедрение с использованием современных образовательных технологий позволит обеспечить высокий уровень профессиональной подготовки с учетом современных требований. 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Портал по непрерывному медицинскому образованию Минздрава России является информационно-образовательным ресурсом для самостоятельной подготовки специалистов здравоохранения в системе непрерывного медицинского образования.  С каждым годом  возрастает количество пользователей в 2016 году с начала года зарегистрировалось более  5000 тысяч человек. На портале представлены образовательные мероприятия и материалы разработанные и организованные профессиональными медицинскими и фармацевтическими ассоциациями. Так только с января профессиональными сообществами было организовано более 1300  различных конференций и съездов, разработано около 500 образовательных модулей для интерактивного освоения .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Профессиональные сообщества принимают участие в разработке и актуализации профессиональных стандартов и порядков оказания медицинской помощи по своей специальности , в актуализации программ повышения квалификации по своей специальности и гармонизации дополнительного профессионального образования на территории Российской Федерации в соответствии с профессиональными стандартами, в разработке высококачественных материалов для повышения квалификации специалистов (национальные руководства, клинические рекомендации (протоколы), электронные образовательные материалы, в том по специальностям, тестовые вопросы для контроля ) в системе непрерывного образования, в проведении образовательных мероприятий (конференции, семинары и иные виды), в организации внутри общества экспертных советов для независимой оценки качества образовательных материалов и мероприятий, в назначении ответственных за развитие непрерывного медицинского образования внутри обществ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BD122-3C11-47CC-94B9-345B5D354764}" type="slidenum">
              <a:rPr lang="ru-RU" smtClean="0"/>
              <a:pPr/>
              <a:t>21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2654F4-2BDE-DF48-9069-A5150831C5E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24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36848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F6C96D-6944-479C-AE53-EE43615DD391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BBD842-BE07-4F75-B7B9-EDA8D4DB8053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5608D-5DE7-4ED0-ADC5-A8DC8B52E709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907895" y="555322"/>
            <a:ext cx="6778907" cy="1191121"/>
          </a:xfrm>
        </p:spPr>
        <p:txBody>
          <a:bodyPr>
            <a:normAutofit/>
          </a:bodyPr>
          <a:lstStyle>
            <a:lvl1pPr algn="l">
              <a:defRPr sz="2700" b="1" i="0">
                <a:solidFill>
                  <a:srgbClr val="2C3E50"/>
                </a:solidFill>
                <a:latin typeface="Myriad Pro"/>
                <a:cs typeface="Myriad Pro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7062BE-3597-4DA4-AB6E-AEA0092EAB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8267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051026-473F-4D0E-B4EE-DC7C2458EC67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3BA46-5FD8-43F9-B561-2682B76C12DD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7A5C9-A7F7-43FD-A2D3-CCD5CC51E37B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CCA32-7043-4658-891D-8B84F7A61AB5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009120-8C08-4B58-AE6A-4D872C11AC1F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EA048-73C4-409A-8A3A-12A37EDBD6C0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92A5E9-9BBC-49E4-9A64-D1EC12E74BEF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A99B-A79C-4FB6-9A44-41BAA03C0098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8384B8-B679-41D7-B267-32CDD91D1FBF}" type="datetime1">
              <a:rPr lang="ru-RU" smtClean="0"/>
              <a:pPr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9.pn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8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31"/>
          <p:cNvGrpSpPr>
            <a:grpSpLocks/>
          </p:cNvGrpSpPr>
          <p:nvPr/>
        </p:nvGrpSpPr>
        <p:grpSpPr bwMode="auto">
          <a:xfrm>
            <a:off x="0" y="1052736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34" name="Прямоугольник 33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3" name="Группа 31"/>
          <p:cNvGrpSpPr>
            <a:grpSpLocks/>
          </p:cNvGrpSpPr>
          <p:nvPr/>
        </p:nvGrpSpPr>
        <p:grpSpPr bwMode="auto">
          <a:xfrm>
            <a:off x="-20638" y="6309321"/>
            <a:ext cx="9164638" cy="370880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42" name="Прямоугольник 41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86" name="TextBox 85"/>
          <p:cNvSpPr txBox="1"/>
          <p:nvPr/>
        </p:nvSpPr>
        <p:spPr>
          <a:xfrm>
            <a:off x="373063" y="908050"/>
            <a:ext cx="8453437" cy="6159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+mn-cs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307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260648"/>
            <a:ext cx="59257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Box 20"/>
          <p:cNvSpPr txBox="1"/>
          <p:nvPr/>
        </p:nvSpPr>
        <p:spPr>
          <a:xfrm>
            <a:off x="2267744" y="332656"/>
            <a:ext cx="6497637" cy="4000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Министерство здравоохранения Российской Федерации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23850" y="2060575"/>
            <a:ext cx="844153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>
              <a:defRPr/>
            </a:pPr>
            <a:r>
              <a:rPr lang="ru-RU" sz="2400" b="1" dirty="0" smtClean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РОЛЬ </a:t>
            </a:r>
          </a:p>
          <a:p>
            <a:pPr lvl="1" algn="ctr">
              <a:defRPr/>
            </a:pPr>
            <a:r>
              <a:rPr lang="ru-RU" sz="2400" b="1" dirty="0" smtClean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ПРОФЕССИОНАЛЬНЫХ МЕДИЦИНСКИХ ОБЪЕДИНЕНИЙ</a:t>
            </a:r>
          </a:p>
          <a:p>
            <a:pPr lvl="1" algn="ctr">
              <a:defRPr/>
            </a:pPr>
            <a:r>
              <a:rPr lang="ru-RU" sz="2400" b="1" dirty="0" smtClean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 В АККРЕДИТАЦИИ</a:t>
            </a:r>
          </a:p>
          <a:p>
            <a:pPr lvl="1" algn="ctr">
              <a:defRPr/>
            </a:pPr>
            <a:r>
              <a:rPr lang="ru-RU" sz="2400" b="1" dirty="0" smtClean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 МЕДИЦИНСКИХ СПЕЦИАЛИСТОВ</a:t>
            </a:r>
            <a:endParaRPr lang="ru-RU" sz="2400" b="1" dirty="0">
              <a:solidFill>
                <a:schemeClr val="tx2">
                  <a:lumMod val="75000"/>
                </a:schemeClr>
              </a:solidFill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857625" y="4005064"/>
            <a:ext cx="4968875" cy="107721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Директор Департамента медицинского образования и </a:t>
            </a:r>
          </a:p>
          <a:p>
            <a:pPr>
              <a:defRPr/>
            </a:pP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к</a:t>
            </a: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Arial" pitchFamily="34" charset="0"/>
              </a:rPr>
              <a:t>адровой политики в здравоохранении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>
              <a:defRPr/>
            </a:pPr>
            <a:endParaRPr lang="ru-RU" sz="1600" dirty="0" smtClean="0">
              <a:solidFill>
                <a:schemeClr val="tx2">
                  <a:lumMod val="75000"/>
                </a:schemeClr>
              </a:solidFill>
              <a:latin typeface="+mn-lt"/>
              <a:cs typeface="Arial" pitchFamily="34" charset="0"/>
            </a:endParaRPr>
          </a:p>
          <a:p>
            <a:pPr>
              <a:defRPr/>
            </a:pP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Arial" pitchFamily="34" charset="0"/>
              </a:rPr>
              <a:t>Т.В. Семёнова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+mn-lt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25426" y="5805264"/>
            <a:ext cx="4968875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Москва, 2016 год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235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3"/>
          <p:cNvSpPr txBox="1">
            <a:spLocks noChangeArrowheads="1"/>
          </p:cNvSpPr>
          <p:nvPr/>
        </p:nvSpPr>
        <p:spPr bwMode="auto">
          <a:xfrm>
            <a:off x="395288" y="115889"/>
            <a:ext cx="8374062" cy="43279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20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/>
              <a:t>ПЕРВИЧНАЯ АККРЕДИТАЦИЯ 2016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07504" y="692696"/>
            <a:ext cx="2304256" cy="252028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ФОРМИРОВАНИЕ АККРЕДИТАЦИОННОЙ КОМИССИИ</a:t>
            </a:r>
          </a:p>
          <a:p>
            <a:pPr algn="ctr"/>
            <a:r>
              <a:rPr lang="ru-RU" sz="12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(Приказ Минздрава России)</a:t>
            </a:r>
          </a:p>
          <a:p>
            <a:pPr algn="ctr"/>
            <a:r>
              <a:rPr lang="ru-RU" sz="12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Регламент работы – определяется председателем АК: назначается заместитель и ответственный секретарь</a:t>
            </a:r>
          </a:p>
          <a:p>
            <a:pPr algn="ctr"/>
            <a:endParaRPr lang="ru-RU" sz="1400" i="1" dirty="0">
              <a:cs typeface="Times New Roman" pitchFamily="18" charset="0"/>
            </a:endParaRPr>
          </a:p>
        </p:txBody>
      </p:sp>
      <p:cxnSp>
        <p:nvCxnSpPr>
          <p:cNvPr id="16" name="Прямая со стрелкой 15"/>
          <p:cNvCxnSpPr>
            <a:stCxn id="14" idx="3"/>
            <a:endCxn id="19" idx="1"/>
          </p:cNvCxnSpPr>
          <p:nvPr/>
        </p:nvCxnSpPr>
        <p:spPr>
          <a:xfrm flipV="1">
            <a:off x="2411760" y="1880828"/>
            <a:ext cx="432048" cy="7200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2843808" y="692696"/>
            <a:ext cx="3384376" cy="23762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Аккредитуемый подает документы для прохождения процедуры аккредитации</a:t>
            </a:r>
          </a:p>
          <a:p>
            <a:pPr algn="ctr"/>
            <a:r>
              <a:rPr lang="ru-RU" sz="1200" b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Комплект документов</a:t>
            </a:r>
          </a:p>
          <a:p>
            <a:r>
              <a:rPr lang="ru-RU" sz="1200" dirty="0" smtClean="0"/>
              <a:t>заявление</a:t>
            </a:r>
          </a:p>
          <a:p>
            <a:r>
              <a:rPr lang="ru-RU" sz="1200" dirty="0" smtClean="0"/>
              <a:t>копия документа, удостоверяющего личность;</a:t>
            </a:r>
          </a:p>
          <a:p>
            <a:r>
              <a:rPr lang="ru-RU" sz="1200" dirty="0" smtClean="0"/>
              <a:t>копия документов о высшем образовании и о квалификации      (с приложениями) или выписка из протокола заседания государственной экзаменационной комиссии;</a:t>
            </a:r>
          </a:p>
          <a:p>
            <a:r>
              <a:rPr lang="ru-RU" sz="1200" dirty="0" smtClean="0"/>
              <a:t>копия страхового свидетельства обязательного пенсионного страхования (при наличии). </a:t>
            </a:r>
            <a:endParaRPr lang="ru-RU" sz="1200" dirty="0">
              <a:cs typeface="Times New Roman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627784" y="4293096"/>
            <a:ext cx="1944216" cy="1368152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В течение 7 календарных дней – передача документов на рассмотрение </a:t>
            </a:r>
            <a:r>
              <a:rPr lang="ru-RU" sz="1300" b="1" i="1" dirty="0" err="1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аккредитационной</a:t>
            </a:r>
            <a:r>
              <a:rPr lang="ru-RU" sz="13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 комиссии </a:t>
            </a:r>
            <a:endParaRPr lang="ru-RU" sz="1300" i="1" dirty="0">
              <a:cs typeface="Times New Roman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23528" y="5805264"/>
            <a:ext cx="1368152" cy="504056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Тестирование</a:t>
            </a:r>
            <a:endParaRPr lang="ru-RU" sz="1400" i="1" dirty="0">
              <a:cs typeface="Times New Roman" pitchFamily="18" charset="0"/>
            </a:endParaRPr>
          </a:p>
        </p:txBody>
      </p:sp>
      <p:grpSp>
        <p:nvGrpSpPr>
          <p:cNvPr id="2" name="Группа 90"/>
          <p:cNvGrpSpPr/>
          <p:nvPr/>
        </p:nvGrpSpPr>
        <p:grpSpPr>
          <a:xfrm>
            <a:off x="1475656" y="5805264"/>
            <a:ext cx="7200800" cy="1052736"/>
            <a:chOff x="3312205" y="2924944"/>
            <a:chExt cx="6012160" cy="1224136"/>
          </a:xfrm>
        </p:grpSpPr>
        <p:sp>
          <p:nvSpPr>
            <p:cNvPr id="58" name="Овал 57"/>
            <p:cNvSpPr/>
            <p:nvPr/>
          </p:nvSpPr>
          <p:spPr>
            <a:xfrm>
              <a:off x="3312205" y="3259872"/>
              <a:ext cx="864097" cy="576064"/>
            </a:xfrm>
            <a:prstGeom prst="ellipse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/>
                <a:t>сдал</a:t>
              </a:r>
              <a:endParaRPr lang="ru-RU" sz="1600" b="1" dirty="0"/>
            </a:p>
          </p:txBody>
        </p:sp>
        <p:cxnSp>
          <p:nvCxnSpPr>
            <p:cNvPr id="59" name="Прямая со стрелкой 58"/>
            <p:cNvCxnSpPr>
              <a:stCxn id="58" idx="6"/>
              <a:endCxn id="61" idx="1"/>
            </p:cNvCxnSpPr>
            <p:nvPr/>
          </p:nvCxnSpPr>
          <p:spPr>
            <a:xfrm flipV="1">
              <a:off x="4176302" y="3226669"/>
              <a:ext cx="467707" cy="321235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61" name="Прямоугольник 60"/>
            <p:cNvSpPr/>
            <p:nvPr/>
          </p:nvSpPr>
          <p:spPr>
            <a:xfrm>
              <a:off x="4644008" y="2924944"/>
              <a:ext cx="2376264" cy="603448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00" b="1" i="1" dirty="0" smtClean="0">
                  <a:solidFill>
                    <a:schemeClr val="accent2">
                      <a:lumMod val="50000"/>
                    </a:schemeClr>
                  </a:solidFill>
                  <a:cs typeface="Times New Roman" pitchFamily="18" charset="0"/>
                </a:rPr>
                <a:t>Оценка практических навыков (умений) в симулированных условиях</a:t>
              </a:r>
              <a:endParaRPr lang="ru-RU" sz="1200" i="1" dirty="0">
                <a:cs typeface="Times New Roman" pitchFamily="18" charset="0"/>
              </a:endParaRP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7668344" y="2996952"/>
              <a:ext cx="1656021" cy="648072"/>
            </a:xfrm>
            <a:prstGeom prst="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400" b="1" i="1" dirty="0" smtClean="0">
                  <a:solidFill>
                    <a:schemeClr val="accent2">
                      <a:lumMod val="50000"/>
                    </a:schemeClr>
                  </a:solidFill>
                  <a:cs typeface="Times New Roman" pitchFamily="18" charset="0"/>
                </a:rPr>
                <a:t>Решение ситуационных задач</a:t>
              </a:r>
              <a:endParaRPr lang="ru-RU" sz="1400" i="1" dirty="0">
                <a:cs typeface="Times New Roman" pitchFamily="18" charset="0"/>
              </a:endParaRPr>
            </a:p>
          </p:txBody>
        </p:sp>
        <p:cxnSp>
          <p:nvCxnSpPr>
            <p:cNvPr id="67" name="Прямая со стрелкой 66"/>
            <p:cNvCxnSpPr>
              <a:stCxn id="98" idx="6"/>
              <a:endCxn id="63" idx="1"/>
            </p:cNvCxnSpPr>
            <p:nvPr/>
          </p:nvCxnSpPr>
          <p:spPr>
            <a:xfrm flipV="1">
              <a:off x="7308305" y="3320988"/>
              <a:ext cx="360039" cy="468052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sp>
          <p:nvSpPr>
            <p:cNvPr id="98" name="Овал 97"/>
            <p:cNvSpPr/>
            <p:nvPr/>
          </p:nvSpPr>
          <p:spPr>
            <a:xfrm>
              <a:off x="6444208" y="3501008"/>
              <a:ext cx="864097" cy="576064"/>
            </a:xfrm>
            <a:prstGeom prst="ellipse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/>
                <a:t>сдал</a:t>
              </a:r>
              <a:endParaRPr lang="ru-RU" sz="1600" b="1" dirty="0"/>
            </a:p>
          </p:txBody>
        </p:sp>
        <p:sp>
          <p:nvSpPr>
            <p:cNvPr id="101" name="Овал 100"/>
            <p:cNvSpPr/>
            <p:nvPr/>
          </p:nvSpPr>
          <p:spPr>
            <a:xfrm>
              <a:off x="8279903" y="3573016"/>
              <a:ext cx="864097" cy="576064"/>
            </a:xfrm>
            <a:prstGeom prst="ellipse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/>
                <a:t>сдал</a:t>
              </a:r>
              <a:endParaRPr lang="ru-RU" sz="1600" b="1" dirty="0"/>
            </a:p>
          </p:txBody>
        </p:sp>
      </p:grpSp>
      <p:sp>
        <p:nvSpPr>
          <p:cNvPr id="176" name="Прямоугольник 175"/>
          <p:cNvSpPr/>
          <p:nvPr/>
        </p:nvSpPr>
        <p:spPr>
          <a:xfrm>
            <a:off x="6876256" y="4365104"/>
            <a:ext cx="1656184" cy="864096"/>
          </a:xfrm>
          <a:prstGeom prst="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Информирование аккредитуемых о сроках проведения аккредитации </a:t>
            </a:r>
            <a:endParaRPr lang="ru-RU" sz="1300" b="1" i="1" dirty="0">
              <a:solidFill>
                <a:schemeClr val="accent2">
                  <a:lumMod val="50000"/>
                </a:schemeClr>
              </a:solidFill>
              <a:cs typeface="Times New Roman" pitchFamily="18" charset="0"/>
            </a:endParaRPr>
          </a:p>
        </p:txBody>
      </p:sp>
      <p:grpSp>
        <p:nvGrpSpPr>
          <p:cNvPr id="3" name="Группа 31"/>
          <p:cNvGrpSpPr>
            <a:grpSpLocks/>
          </p:cNvGrpSpPr>
          <p:nvPr/>
        </p:nvGrpSpPr>
        <p:grpSpPr bwMode="auto">
          <a:xfrm>
            <a:off x="0" y="476672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45" name="Прямоугольник 44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52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Номер слайда 64"/>
          <p:cNvSpPr>
            <a:spLocks noGrp="1"/>
          </p:cNvSpPr>
          <p:nvPr>
            <p:ph type="sldNum" sz="quarter" idx="12"/>
          </p:nvPr>
        </p:nvSpPr>
        <p:spPr>
          <a:xfrm>
            <a:off x="8557592" y="6492875"/>
            <a:ext cx="586408" cy="365125"/>
          </a:xfrm>
        </p:spPr>
        <p:txBody>
          <a:bodyPr/>
          <a:lstStyle/>
          <a:p>
            <a:pPr>
              <a:defRPr/>
            </a:pPr>
            <a:fld id="{9FB529F0-CFB5-4488-81D0-0CCFD6778A02}" type="slidenum">
              <a:rPr lang="ru-RU" sz="1400" b="1" smtClean="0">
                <a:solidFill>
                  <a:schemeClr val="tx1"/>
                </a:solidFill>
              </a:rPr>
              <a:pPr>
                <a:defRPr/>
              </a:pPr>
              <a:t>10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131840" y="2204864"/>
            <a:ext cx="1368152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i="1" dirty="0">
              <a:cs typeface="Times New Roman" pitchFamily="18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9756576" y="2852936"/>
            <a:ext cx="1872208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i="1" dirty="0">
              <a:cs typeface="Times New Roman" pitchFamily="18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7236296" y="2276872"/>
            <a:ext cx="1800200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endParaRPr lang="ru-RU" sz="1400" i="1" dirty="0">
              <a:cs typeface="Times New Roman" pitchFamily="18" charset="0"/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4644008" y="3284984"/>
            <a:ext cx="1800200" cy="432048"/>
          </a:xfrm>
          <a:prstGeom prst="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Расписка аккредитуемому</a:t>
            </a:r>
            <a:endParaRPr lang="ru-RU" sz="1400" i="1" dirty="0">
              <a:cs typeface="Times New Roman" pitchFamily="18" charset="0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2627784" y="3284984"/>
            <a:ext cx="1944216" cy="93610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Ответственный секретарь проверяет полноту комплекта  документов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07504" y="3284984"/>
            <a:ext cx="2304256" cy="93610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Регистрация документов в журнале регистрации в день поступления документов</a:t>
            </a:r>
            <a:endParaRPr lang="ru-RU" sz="1400" i="1" dirty="0">
              <a:cs typeface="Times New Roman" pitchFamily="18" charset="0"/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4644008" y="3789040"/>
            <a:ext cx="1800200" cy="432048"/>
          </a:xfrm>
          <a:prstGeom prst="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Отказ в принятии документов</a:t>
            </a:r>
            <a:endParaRPr lang="ru-RU" sz="1400" i="1" dirty="0">
              <a:cs typeface="Times New Roman" pitchFamily="18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4644008" y="4365104"/>
            <a:ext cx="2160240" cy="1296144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Не позднее 10 дней календарных дней заседание АК, принятие решения о допуске и сроках проведения аккредитации</a:t>
            </a:r>
            <a:endParaRPr lang="ru-RU" sz="1300" i="1" dirty="0">
              <a:cs typeface="Times New Roman" pitchFamily="18" charset="0"/>
            </a:endParaRPr>
          </a:p>
        </p:txBody>
      </p:sp>
      <p:grpSp>
        <p:nvGrpSpPr>
          <p:cNvPr id="4" name="Группа 31"/>
          <p:cNvGrpSpPr>
            <a:grpSpLocks/>
          </p:cNvGrpSpPr>
          <p:nvPr/>
        </p:nvGrpSpPr>
        <p:grpSpPr bwMode="auto">
          <a:xfrm>
            <a:off x="0" y="5733256"/>
            <a:ext cx="9164638" cy="72008"/>
            <a:chOff x="-22358" y="784226"/>
            <a:chExt cx="9928358" cy="155575"/>
          </a:xfrm>
          <a:solidFill>
            <a:srgbClr val="FF0000"/>
          </a:solidFill>
        </p:grpSpPr>
        <p:sp>
          <p:nvSpPr>
            <p:cNvPr id="112" name="Прямоугольник 111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13" name="Прямоугольник 112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14" name="Прямоугольник 113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15" name="Прямоугольник 114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16" name="Прямоугольник 115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17" name="Прямоугольник 116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118" name="Прямоугольник 117"/>
          <p:cNvSpPr/>
          <p:nvPr/>
        </p:nvSpPr>
        <p:spPr>
          <a:xfrm>
            <a:off x="6948264" y="836712"/>
            <a:ext cx="1656184" cy="2232248"/>
          </a:xfrm>
          <a:prstGeom prst="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rgbClr val="FF0000"/>
                </a:solidFill>
                <a:cs typeface="Times New Roman" pitchFamily="18" charset="0"/>
              </a:rPr>
              <a:t>Информирование аккредитуемых: </a:t>
            </a:r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на официальном сайте образовательной организации и информационных стендах</a:t>
            </a:r>
            <a:endParaRPr lang="ru-RU" sz="1400" b="1" i="1" dirty="0">
              <a:solidFill>
                <a:schemeClr val="accent2">
                  <a:lumMod val="50000"/>
                </a:schemeClr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935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Номер слайда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211781-6F9C-42D2-A20F-56750FD16D03}" type="slidenum">
              <a:rPr lang="ru-RU" smtClean="0">
                <a:cs typeface="Times New Roman" pitchFamily="18" charset="0"/>
              </a:rPr>
              <a:pPr>
                <a:defRPr/>
              </a:pPr>
              <a:t>11</a:t>
            </a:fld>
            <a:endParaRPr lang="ru-RU" dirty="0">
              <a:cs typeface="Times New Roman" pitchFamily="18" charset="0"/>
            </a:endParaRPr>
          </a:p>
        </p:txBody>
      </p:sp>
      <p:sp>
        <p:nvSpPr>
          <p:cNvPr id="35" name="Прямоугольник 13"/>
          <p:cNvSpPr txBox="1">
            <a:spLocks noChangeArrowheads="1"/>
          </p:cNvSpPr>
          <p:nvPr/>
        </p:nvSpPr>
        <p:spPr bwMode="auto">
          <a:xfrm>
            <a:off x="385813" y="109538"/>
            <a:ext cx="8372475" cy="439737"/>
          </a:xfrm>
          <a:prstGeom prst="rect">
            <a:avLst/>
          </a:prstGeom>
          <a:noFill/>
          <a:ln w="25400" cap="flat" cmpd="sng" algn="ctr">
            <a:noFill/>
            <a:prstDash val="solid"/>
            <a:miter lim="800000"/>
            <a:headEnd/>
            <a:tailEnd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r>
              <a:rPr lang="ru-RU" altLang="ko-KR" dirty="0"/>
              <a:t>ФОРМИРОВАНИЕ АККРЕДИТАЦИОННОЙ КОМИССИИ</a:t>
            </a:r>
          </a:p>
          <a:p>
            <a:r>
              <a:rPr lang="ru-RU" altLang="ko-KR" sz="1200" dirty="0"/>
              <a:t>(приказ Минздрава России от 02.06.2016 № 334н, зарегистрирован в Минюсте России 16.06.2016 № 42550)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35765" y="836712"/>
            <a:ext cx="8656715" cy="324036"/>
          </a:xfrm>
          <a:prstGeom prst="rect">
            <a:avLst/>
          </a:prstGeom>
          <a:noFill/>
          <a:ln>
            <a:solidFill>
              <a:srgbClr val="00206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Министерство здравоохранения Российской Федерации</a:t>
            </a:r>
            <a:endParaRPr lang="ru-RU" dirty="0">
              <a:solidFill>
                <a:schemeClr val="tx2">
                  <a:lumMod val="75000"/>
                </a:schemeClr>
              </a:solidFill>
              <a:cs typeface="Times New Roman" pitchFamily="18" charset="0"/>
            </a:endParaRPr>
          </a:p>
        </p:txBody>
      </p:sp>
      <p:sp>
        <p:nvSpPr>
          <p:cNvPr id="39" name="Стрелка вниз 38"/>
          <p:cNvSpPr/>
          <p:nvPr/>
        </p:nvSpPr>
        <p:spPr>
          <a:xfrm>
            <a:off x="2987824" y="1173412"/>
            <a:ext cx="3312368" cy="887436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формирование </a:t>
            </a:r>
            <a:r>
              <a:rPr lang="ru-RU" sz="1200" b="1" dirty="0" err="1" smtClean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аккредитационных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/>
            </a:r>
            <a:br>
              <a:rPr lang="ru-RU" sz="1200" b="1" dirty="0" smtClean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комиссий </a:t>
            </a:r>
            <a:br>
              <a:rPr lang="ru-RU" sz="1200" b="1" dirty="0" smtClean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</a:b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(ежегодно)</a:t>
            </a:r>
            <a:endParaRPr lang="ru-RU" sz="1200" b="1" dirty="0">
              <a:solidFill>
                <a:schemeClr val="tx2">
                  <a:lumMod val="75000"/>
                </a:schemeClr>
              </a:solidFill>
              <a:cs typeface="Times New Roman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87587" y="2075618"/>
            <a:ext cx="8496944" cy="4665750"/>
          </a:xfrm>
          <a:prstGeom prst="rect">
            <a:avLst/>
          </a:prstGeom>
          <a:noFill/>
          <a:ln cap="sq">
            <a:solidFill>
              <a:schemeClr val="accent1">
                <a:shade val="50000"/>
              </a:schemeClr>
            </a:solidFill>
            <a:prstDash val="dash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/>
          <p:cNvSpPr txBox="1"/>
          <p:nvPr/>
        </p:nvSpPr>
        <p:spPr>
          <a:xfrm>
            <a:off x="2483768" y="2101498"/>
            <a:ext cx="4319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Состав </a:t>
            </a:r>
            <a:r>
              <a:rPr lang="ru-RU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аккредитационной</a:t>
            </a:r>
            <a:r>
              <a:rPr lang="ru-RU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 комиссии (АК)</a:t>
            </a:r>
            <a:endParaRPr lang="ru-RU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467544" y="2470830"/>
            <a:ext cx="2664296" cy="2542346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 anchorCtr="0"/>
          <a:lstStyle/>
          <a:p>
            <a:pPr algn="ctr"/>
            <a:r>
              <a:rPr lang="ru-RU" sz="1400" b="1" u="sng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Председатель АК</a:t>
            </a:r>
          </a:p>
          <a:p>
            <a:pPr algn="ctr"/>
            <a:r>
              <a:rPr lang="ru-RU" sz="1200" b="1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член профессиональной некоммерческой организации (ст. 76 Федерального закона № 323-ФЗ)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 осуществляет общее руководство деятельностью АК;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 распределяет обязанности между членами АК;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 формирует апелляционную комиссию;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 назначает зам. председателя и ответственного секретаря АК из членов АК.</a:t>
            </a:r>
            <a:endParaRPr lang="ru-RU" sz="1200" dirty="0">
              <a:solidFill>
                <a:schemeClr val="tx2">
                  <a:lumMod val="50000"/>
                </a:schemeClr>
              </a:solidFill>
              <a:cs typeface="Times New Roman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347864" y="2470830"/>
            <a:ext cx="2052165" cy="2542346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 anchorCtr="0"/>
          <a:lstStyle/>
          <a:p>
            <a:pPr algn="ctr"/>
            <a:r>
              <a:rPr lang="ru-RU" sz="1400" b="1" u="sng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Заместитель</a:t>
            </a:r>
          </a:p>
          <a:p>
            <a:pPr algn="ctr"/>
            <a:r>
              <a:rPr lang="ru-RU" sz="1400" b="1" u="sng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председателя АК</a:t>
            </a:r>
          </a:p>
          <a:p>
            <a:pPr algn="just"/>
            <a:endParaRPr lang="ru-RU" sz="1400" dirty="0" smtClean="0">
              <a:solidFill>
                <a:schemeClr val="tx2">
                  <a:lumMod val="50000"/>
                </a:schemeClr>
              </a:solidFill>
              <a:cs typeface="Times New Roman" pitchFamily="18" charset="0"/>
            </a:endParaRPr>
          </a:p>
          <a:p>
            <a:pPr algn="just"/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исполняет обязанности председателя </a:t>
            </a:r>
            <a:r>
              <a:rPr lang="ru-RU" sz="1200" dirty="0" err="1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аккредитационной</a:t>
            </a:r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 комиссии в его отсутствие, осуществляет иные функции по поручению председателя </a:t>
            </a:r>
            <a:r>
              <a:rPr lang="ru-RU" sz="1200" dirty="0" err="1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аккредитационной</a:t>
            </a:r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  комиссии.</a:t>
            </a:r>
            <a:endParaRPr lang="ru-RU" sz="1200" dirty="0">
              <a:solidFill>
                <a:schemeClr val="tx2">
                  <a:lumMod val="50000"/>
                </a:schemeClr>
              </a:solidFill>
              <a:cs typeface="Times New Roman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5580112" y="2470830"/>
            <a:ext cx="3024336" cy="2542346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 anchorCtr="0"/>
          <a:lstStyle/>
          <a:p>
            <a:pPr algn="ctr"/>
            <a:r>
              <a:rPr lang="ru-RU" sz="1400" b="1" u="sng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Ответственный секретарь АК</a:t>
            </a:r>
          </a:p>
          <a:p>
            <a:pPr algn="just"/>
            <a:endParaRPr lang="ru-RU" sz="1400" dirty="0" smtClean="0">
              <a:solidFill>
                <a:schemeClr val="tx2">
                  <a:lumMod val="50000"/>
                </a:schemeClr>
              </a:solidFill>
              <a:cs typeface="Times New Roman" pitchFamily="18" charset="0"/>
            </a:endParaRPr>
          </a:p>
          <a:p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- </a:t>
            </a:r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регистрирует и рассматривает поступающие в АК документы;</a:t>
            </a:r>
          </a:p>
          <a:p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- уведомляет лиц, изъявивших желание пройти аккредитацию специалиста, о сроках ее проведения;</a:t>
            </a:r>
          </a:p>
          <a:p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- готовит материалы к заседаниям АК;</a:t>
            </a:r>
          </a:p>
          <a:p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- ведет протоколы заседаний АК;</a:t>
            </a:r>
          </a:p>
          <a:p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предоставляет материалы, необходимые для рассмотрения апелляций;</a:t>
            </a:r>
          </a:p>
          <a:p>
            <a:r>
              <a:rPr lang="ru-RU" sz="12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- осуществляет иные функции по поручению председателя АК.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459666" y="5085184"/>
            <a:ext cx="8208912" cy="201015"/>
          </a:xfrm>
          <a:prstGeom prst="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Члены </a:t>
            </a:r>
            <a:r>
              <a:rPr lang="ru-RU" b="1" dirty="0" err="1" smtClean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аккредитационной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 комиссии</a:t>
            </a:r>
            <a:endParaRPr lang="ru-RU" b="1" dirty="0">
              <a:solidFill>
                <a:schemeClr val="tx2">
                  <a:lumMod val="75000"/>
                </a:schemeClr>
              </a:solidFill>
              <a:cs typeface="Times New Roman" pitchFamily="18" charset="0"/>
            </a:endParaRPr>
          </a:p>
        </p:txBody>
      </p:sp>
      <p:grpSp>
        <p:nvGrpSpPr>
          <p:cNvPr id="13" name="Группа 31"/>
          <p:cNvGrpSpPr>
            <a:grpSpLocks/>
          </p:cNvGrpSpPr>
          <p:nvPr/>
        </p:nvGrpSpPr>
        <p:grpSpPr bwMode="auto">
          <a:xfrm>
            <a:off x="0" y="548680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14" name="Прямоугольник 13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21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471530" y="5348205"/>
            <a:ext cx="2012238" cy="124914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 anchorCtr="0"/>
          <a:lstStyle/>
          <a:p>
            <a:pPr algn="ctr"/>
            <a:r>
              <a:rPr lang="ru-RU" sz="1200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Представители профессиональных некоммерческих организаций, указанных в статье 76 Федерального закона N 323-ФЗ.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627784" y="5348204"/>
            <a:ext cx="3768860" cy="1249147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 anchorCtr="0"/>
          <a:lstStyle/>
          <a:p>
            <a:pPr algn="ctr"/>
            <a:r>
              <a:rPr lang="ru-RU" sz="1100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Представители органов исполнительной власти в сфере охраны здоровья и (или) медицинских организаций и иных организаций, осуществляющих медицинскую и (или) фармацевтическую деятельность, и (или) профессиональных союзов медицинских работников или их объединений (ассоциаций</a:t>
            </a:r>
            <a:r>
              <a:rPr lang="ru-RU" sz="11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).</a:t>
            </a:r>
            <a:endParaRPr lang="ru-RU" sz="1400" b="1" u="sng" dirty="0">
              <a:solidFill>
                <a:schemeClr val="tx2">
                  <a:lumMod val="50000"/>
                </a:schemeClr>
              </a:solidFill>
              <a:cs typeface="Times New Roman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516216" y="5348205"/>
            <a:ext cx="2152362" cy="1249146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 anchorCtr="0"/>
          <a:lstStyle/>
          <a:p>
            <a:pPr algn="ctr"/>
            <a:r>
              <a:rPr lang="ru-RU" sz="1100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Представители </a:t>
            </a:r>
            <a:r>
              <a:rPr lang="ru-RU" sz="11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образовательных </a:t>
            </a:r>
            <a:r>
              <a:rPr lang="ru-RU" sz="1100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и (или) </a:t>
            </a:r>
            <a:r>
              <a:rPr lang="ru-RU" sz="11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научных </a:t>
            </a:r>
            <a:r>
              <a:rPr lang="ru-RU" sz="1100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организации, реализующей программы медицинского и (или) фармацевтического </a:t>
            </a:r>
            <a:r>
              <a:rPr lang="ru-RU" sz="1100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образования, не участвующих в подготовке специалиста.</a:t>
            </a:r>
            <a:endParaRPr lang="ru-RU" sz="1100" dirty="0">
              <a:solidFill>
                <a:schemeClr val="tx2">
                  <a:lumMod val="50000"/>
                </a:schemeClr>
              </a:solidFill>
              <a:cs typeface="Times New Roman" pitchFamily="18" charset="0"/>
            </a:endParaRPr>
          </a:p>
          <a:p>
            <a:pPr algn="ctr"/>
            <a:endParaRPr lang="ru-RU" sz="1100" dirty="0">
              <a:solidFill>
                <a:schemeClr val="tx2">
                  <a:lumMod val="50000"/>
                </a:schemeClr>
              </a:solidFill>
              <a:cs typeface="Times New Roman" pitchFamily="18" charset="0"/>
            </a:endParaRPr>
          </a:p>
          <a:p>
            <a:pPr algn="ctr"/>
            <a:endParaRPr lang="ru-RU" sz="1100" dirty="0">
              <a:solidFill>
                <a:schemeClr val="tx2">
                  <a:lumMod val="50000"/>
                </a:schemeClr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1835696" y="4149080"/>
            <a:ext cx="3168352" cy="792088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нтры аккредитации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Двойная стрелка вверх/вниз 43"/>
          <p:cNvSpPr/>
          <p:nvPr/>
        </p:nvSpPr>
        <p:spPr>
          <a:xfrm>
            <a:off x="683568" y="980728"/>
            <a:ext cx="1115616" cy="5616624"/>
          </a:xfrm>
          <a:prstGeom prst="up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ЫЕ БАЗЫ ДАННЫХ ОЦЕНОЧНЫХ СРЕДСТВ, ЭКСПЕРТОВ, АККРЕДИТОВАННЫХ СПЕЦИАЛИСТОВ, СВИДЕТЕЛЬСТВ ОБ АККРЕДИТАЦИИ</a:t>
            </a:r>
            <a:endParaRPr lang="ru-RU" sz="11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1835696" y="2132856"/>
            <a:ext cx="1584176" cy="50405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ТОДОЛОГИЯ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7" name="Стрелка влево 46"/>
          <p:cNvSpPr/>
          <p:nvPr/>
        </p:nvSpPr>
        <p:spPr>
          <a:xfrm>
            <a:off x="611560" y="3717032"/>
            <a:ext cx="288032" cy="216024"/>
          </a:xfrm>
          <a:prstGeom prst="left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107504" y="1268760"/>
            <a:ext cx="432048" cy="496855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ый регистр медицинских работников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3491880" y="2132856"/>
            <a:ext cx="1512168" cy="115212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</a:p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ЦЕНОЧНЫХ</a:t>
            </a:r>
          </a:p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ЕДСТВ И РЕГУЛИРОВАНИЕ КРИТЕРИЕВ ИХ ПРИМЕНЕНИЯ</a:t>
            </a:r>
            <a:endParaRPr lang="ru-RU" sz="11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1835696" y="2708920"/>
            <a:ext cx="1584176" cy="5760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ГОТОВКА  ЭКСПЕРТОВ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5796136" y="3717032"/>
            <a:ext cx="3096344" cy="50405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СТАВИТЕЛИ РАБОТОДАТЕЛЕЙ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652120" y="1196752"/>
            <a:ext cx="3384376" cy="2160240"/>
          </a:xfrm>
          <a:prstGeom prst="rect">
            <a:avLst/>
          </a:prstGeom>
          <a:noFill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КОММЕРЧЕСКИЕ ПРОФЕССИОНАЛЬНЫЕ ОБЩЕСТВА</a:t>
            </a:r>
          </a:p>
          <a:p>
            <a:pPr algn="ctr">
              <a:buFont typeface="Wingdings" pitchFamily="2" charset="2"/>
              <a:buChar char="ü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ходят в состав Центральной апелляционной комиссии;</a:t>
            </a:r>
          </a:p>
          <a:p>
            <a:pPr algn="ctr">
              <a:buFont typeface="Wingdings" pitchFamily="2" charset="2"/>
              <a:buChar char="ü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ходят в состав Центральной экзаменационной комиссии;</a:t>
            </a:r>
          </a:p>
          <a:p>
            <a:pPr algn="ctr">
              <a:buFont typeface="Wingdings" pitchFamily="2" charset="2"/>
              <a:buChar char="ü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аствуют в разработке и актуализации оценочных средств;</a:t>
            </a:r>
          </a:p>
          <a:p>
            <a:pPr algn="ctr">
              <a:buFont typeface="Wingdings" pitchFamily="2" charset="2"/>
              <a:buChar char="ü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кспертируют имеющиеся оценочные средства;</a:t>
            </a:r>
          </a:p>
          <a:p>
            <a:pPr algn="ctr">
              <a:buFont typeface="Wingdings" pitchFamily="2" charset="2"/>
              <a:buChar char="ü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аствуют в подготовке экспертов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835696" y="980728"/>
            <a:ext cx="3168352" cy="1080120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нтр методического обеспечения аккредитации специалиста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835696" y="5085184"/>
            <a:ext cx="1296144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И ПРОВЕДЕНИЕ АККРЕДИТАЦИИ </a:t>
            </a:r>
            <a:endParaRPr lang="ru-RU" sz="1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3203848" y="5085184"/>
            <a:ext cx="1800200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НИТОРИНГ И УЧАСТИЕ В РАЗВИТИИ СИСТЕМЫ АККРЕДИТАЦИИ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5652120" y="4509120"/>
            <a:ext cx="3384376" cy="1224136"/>
          </a:xfrm>
          <a:prstGeom prst="rect">
            <a:avLst/>
          </a:prstGeom>
          <a:noFill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КОММЕРЧЕСКИЕ ПРОФЕССИОНАЛЬНЫЕ ОБЩЕСТВА</a:t>
            </a:r>
          </a:p>
          <a:p>
            <a:pPr algn="ctr">
              <a:buFont typeface="Wingdings" pitchFamily="2" charset="2"/>
              <a:buChar char="ü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астие в обеспечении и проведении аккредитации;</a:t>
            </a:r>
          </a:p>
          <a:p>
            <a:pPr algn="ctr">
              <a:buFont typeface="Wingdings" pitchFamily="2" charset="2"/>
              <a:buChar char="ü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несение предложений по развитию системы аккредитации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835696" y="3356992"/>
            <a:ext cx="3168352" cy="4320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ОРМАТИВНОЕ СОПРОВОЖДЕНИЕ АККРЕДИТАЦИИ</a:t>
            </a:r>
          </a:p>
        </p:txBody>
      </p:sp>
      <p:sp>
        <p:nvSpPr>
          <p:cNvPr id="28" name="Плюс 27"/>
          <p:cNvSpPr/>
          <p:nvPr/>
        </p:nvSpPr>
        <p:spPr>
          <a:xfrm>
            <a:off x="7236296" y="3356992"/>
            <a:ext cx="360040" cy="36004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трелка вправо 32"/>
          <p:cNvSpPr/>
          <p:nvPr/>
        </p:nvSpPr>
        <p:spPr>
          <a:xfrm rot="10800000">
            <a:off x="5076056" y="2132856"/>
            <a:ext cx="504056" cy="720080"/>
          </a:xfrm>
          <a:prstGeom prst="rightArrow">
            <a:avLst>
              <a:gd name="adj1" fmla="val 50000"/>
              <a:gd name="adj2" fmla="val 51890"/>
            </a:avLst>
          </a:prstGeom>
          <a:noFill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5796136" y="6237312"/>
            <a:ext cx="3096344" cy="4320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СТАВИТЕЛИ РАБОТОДАТЕЛЕЙ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Плюс 35"/>
          <p:cNvSpPr/>
          <p:nvPr/>
        </p:nvSpPr>
        <p:spPr>
          <a:xfrm>
            <a:off x="7236296" y="5805264"/>
            <a:ext cx="360040" cy="36004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трелка вправо 36"/>
          <p:cNvSpPr/>
          <p:nvPr/>
        </p:nvSpPr>
        <p:spPr>
          <a:xfrm rot="10800000">
            <a:off x="5076056" y="4725144"/>
            <a:ext cx="504056" cy="720080"/>
          </a:xfrm>
          <a:prstGeom prst="rightArrow">
            <a:avLst>
              <a:gd name="adj1" fmla="val 50000"/>
              <a:gd name="adj2" fmla="val 51890"/>
            </a:avLst>
          </a:prstGeom>
          <a:noFill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31"/>
          <p:cNvGrpSpPr>
            <a:grpSpLocks/>
          </p:cNvGrpSpPr>
          <p:nvPr/>
        </p:nvGrpSpPr>
        <p:grpSpPr bwMode="auto">
          <a:xfrm>
            <a:off x="0" y="476672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24" name="Прямоугольник 23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34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Прямоугольник 13"/>
          <p:cNvSpPr txBox="1">
            <a:spLocks noChangeArrowheads="1"/>
          </p:cNvSpPr>
          <p:nvPr/>
        </p:nvSpPr>
        <p:spPr bwMode="auto">
          <a:xfrm>
            <a:off x="395288" y="115889"/>
            <a:ext cx="8374062" cy="43279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20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 smtClean="0"/>
              <a:t>РОЛЬ НЕКОМЕРЧЕСКИХ ПРОФЕССИОНАЛЬНЫХ ОБЩЕСТ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10235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13"/>
          <p:cNvSpPr txBox="1">
            <a:spLocks noChangeArrowheads="1"/>
          </p:cNvSpPr>
          <p:nvPr/>
        </p:nvSpPr>
        <p:spPr bwMode="auto">
          <a:xfrm>
            <a:off x="395288" y="115889"/>
            <a:ext cx="8374062" cy="43279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20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/>
              <a:t>СВИДЕТЕЛЬСТВО ОБ АККРЕДИТАЦИИ СПЕЦИАЛИСТА</a:t>
            </a:r>
          </a:p>
        </p:txBody>
      </p:sp>
      <p:grpSp>
        <p:nvGrpSpPr>
          <p:cNvPr id="6" name="Группа 31"/>
          <p:cNvGrpSpPr>
            <a:grpSpLocks/>
          </p:cNvGrpSpPr>
          <p:nvPr/>
        </p:nvGrpSpPr>
        <p:grpSpPr bwMode="auto">
          <a:xfrm>
            <a:off x="0" y="476672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7" name="Прямоугольник 6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13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960774"/>
            <a:ext cx="2880320" cy="1920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87624" y="2276872"/>
            <a:ext cx="2880320" cy="1920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83768" y="3429000"/>
            <a:ext cx="2880319" cy="19203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07904" y="4725144"/>
            <a:ext cx="2880320" cy="1920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1" name="Прямоугольник 20"/>
          <p:cNvSpPr/>
          <p:nvPr/>
        </p:nvSpPr>
        <p:spPr>
          <a:xfrm>
            <a:off x="4302224" y="836712"/>
            <a:ext cx="4572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sz="1600" dirty="0" smtClean="0"/>
              <a:t>Свидетельство об аккредитации специалиста оформляется Министерством здравоохранения Российской Федерации и подписывается уполномоченным лицом Министерства здравоохранения Российской Федерации.</a:t>
            </a:r>
            <a:endParaRPr lang="ru-RU" sz="16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5508104" y="2127022"/>
            <a:ext cx="365653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sz="1600" dirty="0"/>
              <a:t>Свидетельство об аккредитации специалиста выдается аккредитационной комиссией лицу, впервые признанному прошедшим аккредитацию специалиста не позднее чем через 30 календарных дней с момента подписания протокола заседания аккредитационной комиссии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660232" y="4307317"/>
            <a:ext cx="248376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sz="1600" dirty="0"/>
              <a:t>Для регистрации выданных свидетельств об аккредитации специалиста в аккредитационной комиссии ведется журнал учета выданных свидетельств об аккредитации специалиста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7504" y="4941168"/>
            <a:ext cx="2483768" cy="12003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50000"/>
                  </a:schemeClr>
                </a:solidFill>
              </a:rPr>
              <a:t>Выдается единожды в течении всей профессиональной деятельности</a:t>
            </a:r>
            <a:endParaRPr lang="ru-RU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5" name="Номер слайда 50"/>
          <p:cNvSpPr>
            <a:spLocks noGrp="1"/>
          </p:cNvSpPr>
          <p:nvPr>
            <p:ph type="sldNum" sz="quarter" idx="12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pPr>
              <a:defRPr/>
            </a:pPr>
            <a:fld id="{28A22B0F-A538-4F7F-B522-76E6578FD6E4}" type="slidenum">
              <a:rPr lang="ru-RU" sz="1400" b="1" smtClean="0">
                <a:solidFill>
                  <a:schemeClr val="tx1"/>
                </a:solidFill>
              </a:rPr>
              <a:pPr>
                <a:defRPr/>
              </a:pPr>
              <a:t>13</a:t>
            </a:fld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650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5282175"/>
              </p:ext>
            </p:extLst>
          </p:nvPr>
        </p:nvGraphicFramePr>
        <p:xfrm>
          <a:off x="400951" y="1121793"/>
          <a:ext cx="8444552" cy="5109210"/>
        </p:xfrm>
        <a:graphic>
          <a:graphicData uri="http://schemas.openxmlformats.org/drawingml/2006/table">
            <a:tbl>
              <a:tblPr/>
              <a:tblGrid>
                <a:gridCol w="5669372"/>
                <a:gridCol w="1493079"/>
                <a:gridCol w="1282101"/>
              </a:tblGrid>
              <a:tr h="274252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личество ВУЗов, 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участвующих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 аккредитации  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6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25539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личество ВУЗов со 100% </a:t>
                      </a: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ккредитацией  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4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2,86%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50700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вузы МЗ РФ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8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2,15</a:t>
                      </a:r>
                      <a:r>
                        <a:rPr lang="en-US" sz="18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%</a:t>
                      </a:r>
                      <a:endParaRPr lang="ru-RU" sz="18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363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вузы МОН РФ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,58%</a:t>
                      </a:r>
                      <a:endParaRPr lang="ru-RU" sz="18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484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коммерческих вузов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,35%</a:t>
                      </a:r>
                      <a:endParaRPr lang="ru-RU" sz="18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484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вузов иной принадлежности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,78%</a:t>
                      </a:r>
                      <a:endParaRPr lang="ru-RU" sz="18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05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личество ВУЗов, не имеющих пересдач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8,93%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52605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вузы МЗ РФ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7,14%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05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вузы МОН РФ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,79%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05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коммерческих вузов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%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605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вузов иной принадлежности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%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25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Допущено к </a:t>
                      </a: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ккредитации,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чел.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694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05128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ккредитовано, чел.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587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97,72%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56415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 аккредитовано, чел. 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07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,28%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94787"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                                            в том числе: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49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                                            после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первого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этапа  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97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,07%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75737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                                            после второго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этапа  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11%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6360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                                            после третьего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этапа  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11%</a:t>
                      </a:r>
                    </a:p>
                  </a:txBody>
                  <a:tcPr marL="7144" marR="7144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Прямоугольник 13"/>
          <p:cNvSpPr txBox="1">
            <a:spLocks noChangeArrowheads="1"/>
          </p:cNvSpPr>
          <p:nvPr/>
        </p:nvSpPr>
        <p:spPr bwMode="auto">
          <a:xfrm>
            <a:off x="385813" y="109538"/>
            <a:ext cx="8372475" cy="537443"/>
          </a:xfrm>
          <a:prstGeom prst="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fontScale="32500" lnSpcReduction="20000"/>
          </a:bodyPr>
          <a:lstStyle>
            <a:lvl1pPr algn="ctr" eaLnBrk="0" fontAlgn="auto" hangingPunct="0">
              <a:spcBef>
                <a:spcPts val="0"/>
              </a:spcBef>
              <a:spcAft>
                <a:spcPts val="0"/>
              </a:spcAft>
              <a:defRPr sz="1600" b="1" cap="all">
                <a:solidFill>
                  <a:schemeClr val="bg1"/>
                </a:solidFill>
                <a:latin typeface="+mj-lt"/>
                <a:ea typeface="+mj-ea"/>
                <a:cs typeface="Times New Roman" pitchFamily="18" charset="0"/>
              </a:defRPr>
            </a:lvl1pPr>
            <a:lvl2pPr algn="ctr" eaLnBrk="0" hangingPunct="0">
              <a:defRPr sz="4400"/>
            </a:lvl2pPr>
            <a:lvl3pPr algn="ctr" eaLnBrk="0" hangingPunct="0">
              <a:defRPr sz="4400"/>
            </a:lvl3pPr>
            <a:lvl4pPr algn="ctr" eaLnBrk="0" hangingPunct="0">
              <a:defRPr sz="4400"/>
            </a:lvl4pPr>
            <a:lvl5pPr algn="ctr" eaLnBrk="0" hangingPunct="0">
              <a:defRPr sz="4400"/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/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/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/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/>
            </a:lvl9pPr>
          </a:lstStyle>
          <a:p>
            <a:pPr>
              <a:lnSpc>
                <a:spcPct val="80000"/>
              </a:lnSpc>
              <a:defRPr/>
            </a:pPr>
            <a:r>
              <a:rPr lang="ru-RU" altLang="ko-KR" sz="6200" cap="none" dirty="0" smtClean="0">
                <a:solidFill>
                  <a:schemeClr val="tx2">
                    <a:lumMod val="50000"/>
                  </a:schemeClr>
                </a:solidFill>
              </a:rPr>
              <a:t>ИТОГИ ПЕРВИЧНОЙ АККРЕДИТАЦИИ ПО СПЕЦИАЛЬНОСТИ «Стоматология»</a:t>
            </a:r>
          </a:p>
        </p:txBody>
      </p:sp>
      <p:grpSp>
        <p:nvGrpSpPr>
          <p:cNvPr id="5" name="Группа 31"/>
          <p:cNvGrpSpPr>
            <a:grpSpLocks/>
          </p:cNvGrpSpPr>
          <p:nvPr/>
        </p:nvGrpSpPr>
        <p:grpSpPr bwMode="auto">
          <a:xfrm>
            <a:off x="0" y="620688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8" name="Прямоугольник 7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14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7516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2376"/>
              </p:ext>
            </p:extLst>
          </p:nvPr>
        </p:nvGraphicFramePr>
        <p:xfrm>
          <a:off x="317065" y="1428752"/>
          <a:ext cx="8444552" cy="4541520"/>
        </p:xfrm>
        <a:graphic>
          <a:graphicData uri="http://schemas.openxmlformats.org/drawingml/2006/table">
            <a:tbl>
              <a:tblPr/>
              <a:tblGrid>
                <a:gridCol w="5669372"/>
                <a:gridCol w="1493079"/>
                <a:gridCol w="1282101"/>
              </a:tblGrid>
              <a:tr h="247649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личество ВУЗов, 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участвующих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 аккредитации  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2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личество ВУЗов со 100% </a:t>
                      </a: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ккредитацией  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8,46%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вузы МЗ РФ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3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5%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вузы МОН РФ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7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3,46%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коммерческих вузов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%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личество ВУЗов, не имеющих пересдач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7,69%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вузы МЗ РФ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en-US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9</a:t>
                      </a:r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%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вузы МОН РФ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,76%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з них коммерческих вузов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%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Допущено к </a:t>
                      </a: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ккредитации,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чел.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037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ккредитовано, чел.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862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94,24%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 аккредитовано, чел. 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75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,76%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47649"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                                            в том числе: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47649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                                            после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первого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этапа  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62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,33%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7649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                                            после второго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этапа  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33%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2321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                                            после третьего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этапа  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0,10%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6" name="Прямоугольник 13"/>
          <p:cNvSpPr txBox="1">
            <a:spLocks noChangeArrowheads="1"/>
          </p:cNvSpPr>
          <p:nvPr/>
        </p:nvSpPr>
        <p:spPr bwMode="auto">
          <a:xfrm>
            <a:off x="385813" y="109538"/>
            <a:ext cx="8372475" cy="537443"/>
          </a:xfrm>
          <a:prstGeom prst="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fontScale="32500" lnSpcReduction="20000"/>
          </a:bodyPr>
          <a:lstStyle>
            <a:lvl1pPr algn="ctr" eaLnBrk="0" fontAlgn="auto" hangingPunct="0">
              <a:spcBef>
                <a:spcPts val="0"/>
              </a:spcBef>
              <a:spcAft>
                <a:spcPts val="0"/>
              </a:spcAft>
              <a:defRPr sz="1600" b="1" cap="all">
                <a:solidFill>
                  <a:schemeClr val="bg1"/>
                </a:solidFill>
                <a:latin typeface="+mj-lt"/>
                <a:ea typeface="+mj-ea"/>
                <a:cs typeface="Times New Roman" pitchFamily="18" charset="0"/>
              </a:defRPr>
            </a:lvl1pPr>
            <a:lvl2pPr algn="ctr" eaLnBrk="0" hangingPunct="0">
              <a:defRPr sz="4400"/>
            </a:lvl2pPr>
            <a:lvl3pPr algn="ctr" eaLnBrk="0" hangingPunct="0">
              <a:defRPr sz="4400"/>
            </a:lvl3pPr>
            <a:lvl4pPr algn="ctr" eaLnBrk="0" hangingPunct="0">
              <a:defRPr sz="4400"/>
            </a:lvl4pPr>
            <a:lvl5pPr algn="ctr" eaLnBrk="0" hangingPunct="0">
              <a:defRPr sz="4400"/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/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/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/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/>
            </a:lvl9pPr>
          </a:lstStyle>
          <a:p>
            <a:pPr>
              <a:lnSpc>
                <a:spcPct val="80000"/>
              </a:lnSpc>
              <a:defRPr/>
            </a:pPr>
            <a:r>
              <a:rPr lang="ru-RU" altLang="ko-KR" sz="6200" cap="none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ИТОГИ ПЕРВИЧНОЙ АККРЕДИТАЦИИ ПО СПЕЦИАЛЬНОСТИ</a:t>
            </a:r>
            <a:br>
              <a:rPr lang="ru-RU" altLang="ko-KR" sz="6200" cap="none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</a:br>
            <a:r>
              <a:rPr lang="ru-RU" altLang="ko-KR" sz="6200" cap="none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 «Фармация»</a:t>
            </a:r>
          </a:p>
        </p:txBody>
      </p:sp>
      <p:pic>
        <p:nvPicPr>
          <p:cNvPr id="5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Группа 31"/>
          <p:cNvGrpSpPr>
            <a:grpSpLocks/>
          </p:cNvGrpSpPr>
          <p:nvPr/>
        </p:nvGrpSpPr>
        <p:grpSpPr bwMode="auto">
          <a:xfrm>
            <a:off x="0" y="620688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9" name="Прямоугольник 8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238205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395536" y="2780928"/>
            <a:ext cx="8352928" cy="136815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13"/>
          <p:cNvSpPr txBox="1">
            <a:spLocks noChangeArrowheads="1"/>
          </p:cNvSpPr>
          <p:nvPr/>
        </p:nvSpPr>
        <p:spPr bwMode="auto">
          <a:xfrm>
            <a:off x="385813" y="109538"/>
            <a:ext cx="8372475" cy="537443"/>
          </a:xfrm>
          <a:prstGeom prst="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 eaLnBrk="0" fontAlgn="auto" hangingPunct="0">
              <a:spcBef>
                <a:spcPts val="0"/>
              </a:spcBef>
              <a:spcAft>
                <a:spcPts val="0"/>
              </a:spcAft>
              <a:defRPr sz="1600" b="1" cap="all">
                <a:solidFill>
                  <a:schemeClr val="bg1"/>
                </a:solidFill>
                <a:latin typeface="+mj-lt"/>
                <a:ea typeface="+mj-ea"/>
                <a:cs typeface="Times New Roman" pitchFamily="18" charset="0"/>
              </a:defRPr>
            </a:lvl1pPr>
            <a:lvl2pPr algn="ctr" eaLnBrk="0" hangingPunct="0">
              <a:defRPr sz="4400"/>
            </a:lvl2pPr>
            <a:lvl3pPr algn="ctr" eaLnBrk="0" hangingPunct="0">
              <a:defRPr sz="4400"/>
            </a:lvl3pPr>
            <a:lvl4pPr algn="ctr" eaLnBrk="0" hangingPunct="0">
              <a:defRPr sz="4400"/>
            </a:lvl4pPr>
            <a:lvl5pPr algn="ctr" eaLnBrk="0" hangingPunct="0">
              <a:defRPr sz="4400"/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/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/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/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/>
            </a:lvl9pPr>
          </a:lstStyle>
          <a:p>
            <a:pPr>
              <a:lnSpc>
                <a:spcPct val="80000"/>
              </a:lnSpc>
              <a:defRPr/>
            </a:pPr>
            <a:r>
              <a:rPr lang="ru-RU" altLang="ko-KR" sz="2000" cap="none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ПРОВЕДЕНИЕ ПЕРВИЧНОЙ АККРЕДИТАЦИИ В 2017 ГОДУ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908720"/>
            <a:ext cx="158035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cs typeface="Times New Roman" pitchFamily="18" charset="0"/>
              </a:defRPr>
            </a:lvl1pPr>
          </a:lstStyle>
          <a:p>
            <a:r>
              <a:rPr lang="ru-RU" dirty="0"/>
              <a:t>Формирование фонда </a:t>
            </a:r>
          </a:p>
          <a:p>
            <a:r>
              <a:rPr lang="ru-RU" dirty="0"/>
              <a:t>оценочных средств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732757" y="764654"/>
            <a:ext cx="7231731" cy="136815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Разработка оценочных средств для каждой специальности: тестовые задания, паспорта станций ОСКЭ, ситуационные задачи.</a:t>
            </a:r>
          </a:p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Проведение экспертизы оценочных средств: направление разработанных оценочных средств экспертам в ВУЗы и профессиональные некоммерческие организации.</a:t>
            </a:r>
          </a:p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Доработка оценочных средств с учетом замечаний экспертов.  </a:t>
            </a:r>
          </a:p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Проведение репетиционных тестирований.</a:t>
            </a:r>
          </a:p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Доработка оценочных средств по результатам тестирований.</a:t>
            </a:r>
            <a:endParaRPr lang="ru-RU" sz="1200" dirty="0"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" y="2218770"/>
            <a:ext cx="139436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cs typeface="Times New Roman" pitchFamily="18" charset="0"/>
              </a:rPr>
              <a:t>Доработка </a:t>
            </a:r>
          </a:p>
          <a:p>
            <a:r>
              <a:rPr lang="ru-RU" sz="1400" dirty="0" smtClean="0">
                <a:cs typeface="Times New Roman" pitchFamily="18" charset="0"/>
              </a:rPr>
              <a:t>программного </a:t>
            </a:r>
          </a:p>
          <a:p>
            <a:r>
              <a:rPr lang="ru-RU" sz="1400" dirty="0" smtClean="0">
                <a:cs typeface="Times New Roman" pitchFamily="18" charset="0"/>
              </a:rPr>
              <a:t>обеспечения</a:t>
            </a:r>
            <a:endParaRPr lang="ru-RU" sz="1400" dirty="0"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687399" y="2174056"/>
            <a:ext cx="7231730" cy="7850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Автоматизация взаимодействия аккредитационных комиссий с МЦА и МЗ РФ.</a:t>
            </a:r>
          </a:p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Автоматизация контроля за соблюдением процедуры проведения первичной аккредитации (соблюдение графика, количества попыток пересдач, оценка и выгрузка результатов, допуск к прохождению очередного этапа аккредитации). </a:t>
            </a:r>
            <a:endParaRPr lang="ru-RU" sz="1200" dirty="0"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" y="3095672"/>
            <a:ext cx="14136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cs typeface="Times New Roman" pitchFamily="18" charset="0"/>
              </a:defRPr>
            </a:lvl1pPr>
          </a:lstStyle>
          <a:p>
            <a:r>
              <a:rPr lang="ru-RU" dirty="0"/>
              <a:t>Корректировка</a:t>
            </a:r>
          </a:p>
          <a:p>
            <a:r>
              <a:rPr lang="ru-RU" dirty="0"/>
              <a:t>нормативной </a:t>
            </a:r>
          </a:p>
          <a:p>
            <a:r>
              <a:rPr lang="ru-RU" dirty="0"/>
              <a:t>правовой базы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744468" y="2959057"/>
            <a:ext cx="7292028" cy="97399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Внесение изменений в Положение об аккредитации специалистов (сокращение периода, после которого аккредитуемый может быть допущен к повторному прохождению первичной аккредитации ).</a:t>
            </a:r>
          </a:p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Разработка методических рекомендация для всех участников первичной аккредитации (аккредитуемые, члены комиссии, ответственные лица). </a:t>
            </a:r>
          </a:p>
          <a:p>
            <a:pPr marL="342900" indent="-342900" algn="just">
              <a:buFontTx/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Разработка и утверждение профессиональных стандартов по «Лечебному делу» и «Педиатрии».</a:t>
            </a:r>
          </a:p>
          <a:p>
            <a:pPr marL="342900" indent="-342900" algn="just"/>
            <a:endParaRPr lang="ru-RU" sz="1400" dirty="0">
              <a:cs typeface="Times New Roman" pitchFamily="18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1568094" y="764704"/>
            <a:ext cx="0" cy="1368152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H="1">
            <a:off x="1561192" y="2261468"/>
            <a:ext cx="12263" cy="653268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>
            <a:off x="1580357" y="3086395"/>
            <a:ext cx="1" cy="846661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Группа 31"/>
          <p:cNvGrpSpPr>
            <a:grpSpLocks/>
          </p:cNvGrpSpPr>
          <p:nvPr/>
        </p:nvGrpSpPr>
        <p:grpSpPr bwMode="auto">
          <a:xfrm>
            <a:off x="0" y="548680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20" name="Прямоугольник 19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29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0" y="3962797"/>
            <a:ext cx="149701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cs typeface="Times New Roman" pitchFamily="18" charset="0"/>
              </a:rPr>
              <a:t>Формирование баз для проведения </a:t>
            </a:r>
          </a:p>
          <a:p>
            <a:r>
              <a:rPr lang="ru-RU" sz="1400" dirty="0" smtClean="0">
                <a:cs typeface="Times New Roman" pitchFamily="18" charset="0"/>
              </a:rPr>
              <a:t>первичной аккредитации</a:t>
            </a:r>
            <a:endParaRPr lang="ru-RU" sz="1400" dirty="0">
              <a:cs typeface="Times New Roman" pitchFamily="18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580358" y="4016804"/>
            <a:ext cx="0" cy="1061536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1732757" y="4030623"/>
            <a:ext cx="7231731" cy="98255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Формирование перечня ВУЗов на базе которых будет проводится первичная аккредитация.</a:t>
            </a:r>
          </a:p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Формирование реестра лиц, ответственных за проведение первичной аккредитации.</a:t>
            </a:r>
          </a:p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Проведение обучающих семинаров для ответственных лиц.</a:t>
            </a:r>
          </a:p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Проверка готовности ВУЗов к проведению первичной аккредитации (организационно-техническая оснащенность)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" y="5229200"/>
            <a:ext cx="16494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cs typeface="Times New Roman" pitchFamily="18" charset="0"/>
              </a:defRPr>
            </a:lvl1pPr>
          </a:lstStyle>
          <a:p>
            <a:r>
              <a:rPr lang="ru-RU" dirty="0"/>
              <a:t>Формирование </a:t>
            </a:r>
          </a:p>
          <a:p>
            <a:r>
              <a:rPr lang="ru-RU" dirty="0" err="1"/>
              <a:t>аккредитационных</a:t>
            </a:r>
            <a:r>
              <a:rPr lang="ru-RU" dirty="0"/>
              <a:t> комиссий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732757" y="5179900"/>
            <a:ext cx="7025532" cy="8372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Формирование и утверждение составов </a:t>
            </a:r>
            <a:r>
              <a:rPr lang="ru-RU" sz="1200" dirty="0" err="1" smtClean="0">
                <a:cs typeface="Times New Roman" pitchFamily="18" charset="0"/>
              </a:rPr>
              <a:t>аккредитационных</a:t>
            </a:r>
            <a:r>
              <a:rPr lang="ru-RU" sz="1200" dirty="0" smtClean="0">
                <a:cs typeface="Times New Roman" pitchFamily="18" charset="0"/>
              </a:rPr>
              <a:t> комиссий по всем специальностям.</a:t>
            </a:r>
          </a:p>
          <a:p>
            <a:pPr marL="342900" indent="-342900" algn="just">
              <a:buAutoNum type="arabicPeriod"/>
            </a:pPr>
            <a:r>
              <a:rPr lang="ru-RU" sz="1200" dirty="0" smtClean="0">
                <a:cs typeface="Times New Roman" pitchFamily="18" charset="0"/>
              </a:rPr>
              <a:t>Проведение обучающих семинаров для председателей и членов аккредитационных комиссий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" y="5967864"/>
            <a:ext cx="14970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cs typeface="Times New Roman" pitchFamily="18" charset="0"/>
              </a:defRPr>
            </a:lvl1pPr>
          </a:lstStyle>
          <a:p>
            <a:r>
              <a:rPr lang="ru-RU" dirty="0"/>
              <a:t>Проведение </a:t>
            </a:r>
          </a:p>
          <a:p>
            <a:r>
              <a:rPr lang="ru-RU" dirty="0"/>
              <a:t>первичной аккредитации</a:t>
            </a: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1568094" y="6017164"/>
            <a:ext cx="0" cy="689364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1580358" y="5303450"/>
            <a:ext cx="0" cy="472408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1816101" y="6125485"/>
            <a:ext cx="7103028" cy="4727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 algn="just"/>
            <a:r>
              <a:rPr lang="ru-RU" sz="1400" dirty="0" smtClean="0">
                <a:cs typeface="Times New Roman" pitchFamily="18" charset="0"/>
              </a:rPr>
              <a:t>	</a:t>
            </a:r>
            <a:r>
              <a:rPr lang="ru-RU" sz="1200" b="1" dirty="0" smtClean="0">
                <a:cs typeface="Times New Roman" pitchFamily="18" charset="0"/>
              </a:rPr>
              <a:t>Проведение первичной аккредитации по всей группе специальностей «Здравоохранение и медицинские науки»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0"/>
            <a:ext cx="9144000" cy="83661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4000" y="187325"/>
            <a:ext cx="8602663" cy="463550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ДОПУСК К ПРОФЕССИОНАЛЬНОЙ ДЕЯТЕЛЬНОСТИ</a:t>
            </a:r>
            <a:b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</a:b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 ЧЕРЕЗ ПРОЦЕДУРУ АККРЕДИТАЦИИ</a:t>
            </a:r>
          </a:p>
        </p:txBody>
      </p:sp>
      <p:sp>
        <p:nvSpPr>
          <p:cNvPr id="5124" name="AutoShape 6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125" name="AutoShape 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126" name="AutoShape 1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90563" y="1635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6" name="Стрелка вправо 55"/>
          <p:cNvSpPr/>
          <p:nvPr/>
        </p:nvSpPr>
        <p:spPr bwMode="auto">
          <a:xfrm rot="5400000">
            <a:off x="7198520" y="2637631"/>
            <a:ext cx="1947862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236538" y="1241425"/>
            <a:ext cx="2895600" cy="296863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400" dirty="0" err="1">
                <a:solidFill>
                  <a:schemeClr val="tx2">
                    <a:lumMod val="75000"/>
                  </a:schemeClr>
                </a:solidFill>
              </a:rPr>
              <a:t>Специалитет</a:t>
            </a:r>
            <a:endParaRPr lang="ru-RU" sz="1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 bwMode="auto">
          <a:xfrm>
            <a:off x="179512" y="1916832"/>
            <a:ext cx="2895600" cy="288925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Ординатура </a:t>
            </a:r>
          </a:p>
        </p:txBody>
      </p:sp>
      <p:sp>
        <p:nvSpPr>
          <p:cNvPr id="5131" name="Скругленный прямоугольник 58"/>
          <p:cNvSpPr>
            <a:spLocks noChangeArrowheads="1"/>
          </p:cNvSpPr>
          <p:nvPr/>
        </p:nvSpPr>
        <p:spPr bwMode="auto">
          <a:xfrm>
            <a:off x="236538" y="2735263"/>
            <a:ext cx="2895600" cy="67786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Первичная специализированная аккредитация</a:t>
            </a:r>
          </a:p>
        </p:txBody>
      </p:sp>
      <p:sp>
        <p:nvSpPr>
          <p:cNvPr id="5132" name="Скругленный прямоугольник 59"/>
          <p:cNvSpPr>
            <a:spLocks noChangeArrowheads="1"/>
          </p:cNvSpPr>
          <p:nvPr/>
        </p:nvSpPr>
        <p:spPr bwMode="auto">
          <a:xfrm>
            <a:off x="236538" y="3781425"/>
            <a:ext cx="8602662" cy="312738"/>
          </a:xfrm>
          <a:prstGeom prst="rect">
            <a:avLst/>
          </a:prstGeom>
          <a:solidFill>
            <a:srgbClr val="92D050">
              <a:alpha val="29000"/>
            </a:srgb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 eaLnBrk="1" hangingPunct="1"/>
            <a:r>
              <a:rPr lang="ru-RU" altLang="ru-RU" sz="1400" dirty="0">
                <a:solidFill>
                  <a:schemeClr val="tx2">
                    <a:lumMod val="75000"/>
                  </a:schemeClr>
                </a:solidFill>
              </a:rPr>
              <a:t>Профессиональная деятельность в течение 5 лет</a:t>
            </a:r>
          </a:p>
        </p:txBody>
      </p:sp>
      <p:sp>
        <p:nvSpPr>
          <p:cNvPr id="61" name="Прямоугольник 60"/>
          <p:cNvSpPr/>
          <p:nvPr/>
        </p:nvSpPr>
        <p:spPr bwMode="auto">
          <a:xfrm>
            <a:off x="5661595" y="2217737"/>
            <a:ext cx="2224088" cy="508000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Профессиональная </a:t>
            </a:r>
          </a:p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переподготовка</a:t>
            </a:r>
          </a:p>
        </p:txBody>
      </p:sp>
      <p:sp>
        <p:nvSpPr>
          <p:cNvPr id="64" name="Стрелка вправо 63"/>
          <p:cNvSpPr/>
          <p:nvPr/>
        </p:nvSpPr>
        <p:spPr bwMode="auto">
          <a:xfrm flipV="1">
            <a:off x="3255963" y="1328738"/>
            <a:ext cx="2352675" cy="122237"/>
          </a:xfrm>
          <a:prstGeom prst="rightArrow">
            <a:avLst>
              <a:gd name="adj1" fmla="val 50000"/>
              <a:gd name="adj2" fmla="val 232887"/>
            </a:avLst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137" name="Скругленный прямоугольник 64"/>
          <p:cNvSpPr>
            <a:spLocks noChangeArrowheads="1"/>
          </p:cNvSpPr>
          <p:nvPr/>
        </p:nvSpPr>
        <p:spPr bwMode="auto">
          <a:xfrm>
            <a:off x="244475" y="6350000"/>
            <a:ext cx="8661400" cy="314325"/>
          </a:xfrm>
          <a:prstGeom prst="rect">
            <a:avLst/>
          </a:prstGeom>
          <a:solidFill>
            <a:srgbClr val="92D050">
              <a:alpha val="29000"/>
            </a:srgb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r>
              <a:rPr lang="ru-RU" altLang="ru-RU" sz="1400" dirty="0">
                <a:solidFill>
                  <a:schemeClr val="tx2">
                    <a:lumMod val="75000"/>
                  </a:schemeClr>
                </a:solidFill>
              </a:rPr>
              <a:t>Профессиональная деятельность в течение 5 лет</a:t>
            </a:r>
          </a:p>
        </p:txBody>
      </p:sp>
      <p:sp>
        <p:nvSpPr>
          <p:cNvPr id="66" name="Стрелка вправо 65"/>
          <p:cNvSpPr/>
          <p:nvPr/>
        </p:nvSpPr>
        <p:spPr bwMode="auto">
          <a:xfrm rot="10244917">
            <a:off x="3227388" y="1776413"/>
            <a:ext cx="2408237" cy="136525"/>
          </a:xfrm>
          <a:prstGeom prst="rightArrow">
            <a:avLst>
              <a:gd name="adj1" fmla="val 50000"/>
              <a:gd name="adj2" fmla="val 353803"/>
            </a:avLst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139" name="Скругленный прямоугольник 66"/>
          <p:cNvSpPr>
            <a:spLocks noChangeArrowheads="1"/>
          </p:cNvSpPr>
          <p:nvPr/>
        </p:nvSpPr>
        <p:spPr bwMode="auto">
          <a:xfrm>
            <a:off x="236538" y="4835525"/>
            <a:ext cx="2895600" cy="5762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Периодическая аккредитация</a:t>
            </a:r>
          </a:p>
        </p:txBody>
      </p:sp>
      <p:sp>
        <p:nvSpPr>
          <p:cNvPr id="5140" name="Скругленный прямоугольник 67"/>
          <p:cNvSpPr>
            <a:spLocks noChangeArrowheads="1"/>
          </p:cNvSpPr>
          <p:nvPr/>
        </p:nvSpPr>
        <p:spPr bwMode="auto">
          <a:xfrm>
            <a:off x="6011863" y="4835525"/>
            <a:ext cx="2873375" cy="5762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Периодическая аккредитация</a:t>
            </a:r>
          </a:p>
        </p:txBody>
      </p:sp>
      <p:sp>
        <p:nvSpPr>
          <p:cNvPr id="5142" name="Скругленный прямоугольник 69"/>
          <p:cNvSpPr>
            <a:spLocks noChangeArrowheads="1"/>
          </p:cNvSpPr>
          <p:nvPr/>
        </p:nvSpPr>
        <p:spPr bwMode="auto">
          <a:xfrm>
            <a:off x="5705475" y="1143000"/>
            <a:ext cx="3179763" cy="4857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Первичная аккредитация</a:t>
            </a:r>
          </a:p>
        </p:txBody>
      </p:sp>
      <p:sp>
        <p:nvSpPr>
          <p:cNvPr id="71" name="Стрелка вправо 70"/>
          <p:cNvSpPr/>
          <p:nvPr/>
        </p:nvSpPr>
        <p:spPr bwMode="auto">
          <a:xfrm rot="5400000">
            <a:off x="1554163" y="1643062"/>
            <a:ext cx="260350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2" name="Стрелка вправо 71"/>
          <p:cNvSpPr/>
          <p:nvPr/>
        </p:nvSpPr>
        <p:spPr bwMode="auto">
          <a:xfrm rot="5400000">
            <a:off x="1455738" y="2400300"/>
            <a:ext cx="457200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3" name="Стрелка вправо 72"/>
          <p:cNvSpPr/>
          <p:nvPr/>
        </p:nvSpPr>
        <p:spPr bwMode="auto">
          <a:xfrm rot="5400000">
            <a:off x="1564481" y="3521869"/>
            <a:ext cx="258763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4" name="Стрелка вправо 73"/>
          <p:cNvSpPr/>
          <p:nvPr/>
        </p:nvSpPr>
        <p:spPr bwMode="auto">
          <a:xfrm rot="5400000">
            <a:off x="7265988" y="4559300"/>
            <a:ext cx="339725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5" name="Стрелка вправо 74"/>
          <p:cNvSpPr/>
          <p:nvPr/>
        </p:nvSpPr>
        <p:spPr bwMode="auto">
          <a:xfrm rot="5400000" flipH="1" flipV="1">
            <a:off x="1488281" y="4533107"/>
            <a:ext cx="369887" cy="165100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6" name="Стрелка вправо 75"/>
          <p:cNvSpPr/>
          <p:nvPr/>
        </p:nvSpPr>
        <p:spPr bwMode="auto">
          <a:xfrm rot="10101964" flipV="1">
            <a:off x="3219899" y="2648882"/>
            <a:ext cx="2366912" cy="120371"/>
          </a:xfrm>
          <a:prstGeom prst="rightArrow">
            <a:avLst>
              <a:gd name="adj1" fmla="val 50000"/>
              <a:gd name="adj2" fmla="val 260656"/>
            </a:avLst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7" name="Стрелка вправо 76"/>
          <p:cNvSpPr/>
          <p:nvPr/>
        </p:nvSpPr>
        <p:spPr bwMode="auto">
          <a:xfrm rot="5400000">
            <a:off x="7160419" y="5680869"/>
            <a:ext cx="563563" cy="1555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8" name="Стрелка вправо 77"/>
          <p:cNvSpPr/>
          <p:nvPr/>
        </p:nvSpPr>
        <p:spPr bwMode="auto">
          <a:xfrm rot="5400000" flipH="1" flipV="1">
            <a:off x="1408907" y="5628481"/>
            <a:ext cx="571500" cy="163513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251520" y="4149080"/>
            <a:ext cx="8568952" cy="284163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Непрерывное медицинское (фармацевтическое) образование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277813" y="6026150"/>
            <a:ext cx="8629650" cy="284163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Непрерывное медицинское (фармацевтическое) образование</a:t>
            </a:r>
          </a:p>
        </p:txBody>
      </p:sp>
      <p:sp>
        <p:nvSpPr>
          <p:cNvPr id="5153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43925" y="6356350"/>
            <a:ext cx="561975" cy="365125"/>
          </a:xfrm>
          <a:noFill/>
        </p:spPr>
        <p:txBody>
          <a:bodyPr/>
          <a:lstStyle/>
          <a:p>
            <a:fld id="{64B8C5F2-86CD-488C-ACB9-0F4CFCF0749C}" type="slidenum">
              <a:rPr lang="en-GB" altLang="ru-RU">
                <a:solidFill>
                  <a:schemeClr val="tx2">
                    <a:lumMod val="75000"/>
                  </a:schemeClr>
                </a:solidFill>
              </a:rPr>
              <a:pPr/>
              <a:t>17</a:t>
            </a:fld>
            <a:endParaRPr lang="en-GB" altLang="ru-RU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6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2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" name="Группа 31"/>
          <p:cNvGrpSpPr>
            <a:grpSpLocks/>
          </p:cNvGrpSpPr>
          <p:nvPr/>
        </p:nvGrpSpPr>
        <p:grpSpPr bwMode="auto">
          <a:xfrm>
            <a:off x="-20638" y="692696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38" name="Прямоугольник 37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2543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3568" y="0"/>
            <a:ext cx="7772400" cy="720081"/>
          </a:xfrm>
        </p:spPr>
        <p:txBody>
          <a:bodyPr>
            <a:normAutofit/>
          </a:bodyPr>
          <a:lstStyle/>
          <a:p>
            <a:pPr eaLnBrk="0" hangingPunct="0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800" b="1" dirty="0" smtClean="0">
                <a:solidFill>
                  <a:srgbClr val="002060"/>
                </a:solidFill>
                <a:latin typeface="+mn-lt"/>
                <a:ea typeface="+mn-ea"/>
                <a:cs typeface="Times New Roman" pitchFamily="18" charset="0"/>
              </a:rPr>
              <a:t>ФОРМИРОВАНИЕ ЭФФЕКТИВНОЙ СИСТЕМЫ</a:t>
            </a:r>
            <a:br>
              <a:rPr lang="ru-RU" sz="1800" b="1" dirty="0" smtClean="0">
                <a:solidFill>
                  <a:srgbClr val="002060"/>
                </a:solidFill>
                <a:latin typeface="+mn-lt"/>
                <a:ea typeface="+mn-ea"/>
                <a:cs typeface="Times New Roman" pitchFamily="18" charset="0"/>
              </a:rPr>
            </a:br>
            <a:r>
              <a:rPr lang="ru-RU" sz="1800" b="1" dirty="0" smtClean="0">
                <a:solidFill>
                  <a:srgbClr val="002060"/>
                </a:solidFill>
                <a:latin typeface="+mn-lt"/>
                <a:ea typeface="+mn-ea"/>
                <a:cs typeface="Times New Roman" pitchFamily="18" charset="0"/>
              </a:rPr>
              <a:t> НЕПРЕРЫВНОГО ПРОФЕССИОНАЛЬНОГО ОБРАЗОВАНИЯ </a:t>
            </a:r>
            <a:endParaRPr lang="ru-RU" sz="1800" b="1" dirty="0">
              <a:solidFill>
                <a:srgbClr val="002060"/>
              </a:solidFill>
              <a:latin typeface="+mn-lt"/>
              <a:ea typeface="+mn-ea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8</a:t>
            </a:fld>
            <a:endParaRPr lang="ru-RU" dirty="0"/>
          </a:p>
        </p:txBody>
      </p:sp>
      <p:pic>
        <p:nvPicPr>
          <p:cNvPr id="7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629330" cy="623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5076056" y="2204864"/>
            <a:ext cx="3816424" cy="1869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i="1" dirty="0" smtClean="0">
                <a:cs typeface="Times New Roman" pitchFamily="18" charset="0"/>
              </a:rPr>
              <a:t>Повышение квалификации в системе непрерывного профессионального образования применяет вариативный подход: </a:t>
            </a:r>
          </a:p>
          <a:p>
            <a:r>
              <a:rPr lang="ru-RU" sz="1050" dirty="0" smtClean="0">
                <a:cs typeface="Times New Roman" pitchFamily="18" charset="0"/>
              </a:rPr>
              <a:t>на базе образовательных учреждений (практические занятия, лекции, семинары), самостоятельное обучение (посещение конференций и семинаров, написание научных работ, чтение медицинских журналов и национальных руководств), дистанционное обучение (формирование образовательного </a:t>
            </a:r>
            <a:r>
              <a:rPr lang="ru-RU" sz="1050" dirty="0" err="1" smtClean="0">
                <a:cs typeface="Times New Roman" pitchFamily="18" charset="0"/>
              </a:rPr>
              <a:t>портфолио</a:t>
            </a:r>
            <a:r>
              <a:rPr lang="ru-RU" sz="1050" dirty="0" smtClean="0">
                <a:cs typeface="Times New Roman" pitchFamily="18" charset="0"/>
              </a:rPr>
              <a:t>, освоение дистанционных образовательных модулей с итоговыми тестами для контроля) </a:t>
            </a:r>
            <a:r>
              <a:rPr lang="ru-RU" sz="1050" b="1" u="sng" dirty="0" smtClean="0">
                <a:cs typeface="Times New Roman" pitchFamily="18" charset="0"/>
              </a:rPr>
              <a:t>коллегиальное обсуждение и разборы сложных случаев на рабочих местах</a:t>
            </a:r>
            <a:r>
              <a:rPr lang="ru-RU" sz="1050" dirty="0" smtClean="0">
                <a:cs typeface="Times New Roman" pitchFamily="18" charset="0"/>
              </a:rPr>
              <a:t> </a:t>
            </a:r>
            <a:endParaRPr lang="ru-RU" sz="1050" dirty="0">
              <a:cs typeface="Times New Roman" pitchFamily="18" charset="0"/>
            </a:endParaRPr>
          </a:p>
        </p:txBody>
      </p:sp>
      <p:sp>
        <p:nvSpPr>
          <p:cNvPr id="9" name="Auf der gleichen Seite des Rechtecks liegende Ecken abrunden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5536" y="2060848"/>
            <a:ext cx="1440160" cy="360040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800" b="1" dirty="0" smtClean="0">
                <a:solidFill>
                  <a:schemeClr val="tx1"/>
                </a:solidFill>
                <a:cs typeface="Times New Roman" pitchFamily="18" charset="0"/>
              </a:rPr>
              <a:t>Индивидуализация образования</a:t>
            </a:r>
            <a:endParaRPr lang="en-US" sz="800" b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5" name="Auf der gleichen Seite des Rechtecks liegende Ecken abrunden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95536" y="1340768"/>
            <a:ext cx="4320480" cy="5760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endParaRPr lang="ru-RU" sz="1000" b="1" dirty="0" smtClean="0">
              <a:cs typeface="Times New Roman" pitchFamily="18" charset="0"/>
            </a:endParaRPr>
          </a:p>
          <a:p>
            <a:pPr marL="0" lvl="1" algn="ctr">
              <a:defRPr/>
            </a:pPr>
            <a:r>
              <a:rPr lang="ru-RU" sz="1000" b="1" dirty="0" smtClean="0">
                <a:cs typeface="Times New Roman" pitchFamily="18" charset="0"/>
              </a:rPr>
              <a:t>Основные составляющие</a:t>
            </a:r>
          </a:p>
          <a:p>
            <a:pPr marL="0" lvl="1" algn="ctr">
              <a:defRPr/>
            </a:pPr>
            <a:r>
              <a:rPr lang="ru-RU" sz="1000" b="1" dirty="0" smtClean="0">
                <a:cs typeface="Times New Roman" pitchFamily="18" charset="0"/>
              </a:rPr>
              <a:t>системы непрерывного профессионального образования</a:t>
            </a:r>
          </a:p>
          <a:p>
            <a:pPr marL="0" lvl="1" algn="ctr">
              <a:defRPr/>
            </a:pPr>
            <a:r>
              <a:rPr lang="ru-RU" sz="1000" b="1" dirty="0" smtClean="0">
                <a:cs typeface="Times New Roman" pitchFamily="18" charset="0"/>
              </a:rPr>
              <a:t> </a:t>
            </a:r>
            <a:endParaRPr lang="en-US" sz="1000" b="1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6" name="Auf der gleichen Seite des Rechtecks liegende Ecken abrunden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979712" y="2060848"/>
            <a:ext cx="1368152" cy="360040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800" b="1" dirty="0" smtClean="0">
                <a:solidFill>
                  <a:schemeClr val="tx1"/>
                </a:solidFill>
                <a:cs typeface="Times New Roman" pitchFamily="18" charset="0"/>
              </a:rPr>
              <a:t>Модульная структура образовательных материалов</a:t>
            </a:r>
            <a:endParaRPr lang="en-US" sz="800" b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7" name="Auf der gleichen Seite des Rechtecks liegende Ecken abrunden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419872" y="2564904"/>
            <a:ext cx="1296144" cy="504056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900" b="1" dirty="0" smtClean="0">
                <a:solidFill>
                  <a:schemeClr val="tx1"/>
                </a:solidFill>
                <a:cs typeface="Times New Roman" pitchFamily="18" charset="0"/>
              </a:rPr>
              <a:t>Профессиональные ассоциации</a:t>
            </a:r>
            <a:endParaRPr lang="en-US" sz="900" b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8" name="Auf der gleichen Seite des Rechtecks liegende Ecken abrunden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419872" y="2060848"/>
            <a:ext cx="1296144" cy="360040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900" b="1" dirty="0" smtClean="0">
                <a:solidFill>
                  <a:schemeClr val="tx1"/>
                </a:solidFill>
                <a:cs typeface="Times New Roman" pitchFamily="18" charset="0"/>
              </a:rPr>
              <a:t>Дистанционные технологии</a:t>
            </a:r>
            <a:endParaRPr lang="en-US" sz="900" b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9" name="Auf der gleichen Seite des Rechtecks liegende Ecken abrunden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95536" y="2564904"/>
            <a:ext cx="1440160" cy="504056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800" b="1" dirty="0" smtClean="0">
                <a:solidFill>
                  <a:schemeClr val="tx1"/>
                </a:solidFill>
                <a:cs typeface="Times New Roman" pitchFamily="18" charset="0"/>
              </a:rPr>
              <a:t>Непрерывное самообразование</a:t>
            </a:r>
            <a:endParaRPr lang="en-US" sz="800" b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0" name="Auf der gleichen Seite des Rechtecks liegende Ecken abrunden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979712" y="2564904"/>
            <a:ext cx="1368152" cy="504056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800" b="1" dirty="0" smtClean="0">
                <a:solidFill>
                  <a:schemeClr val="tx1"/>
                </a:solidFill>
                <a:cs typeface="Times New Roman" pitchFamily="18" charset="0"/>
              </a:rPr>
              <a:t>Формирование профессиональных компетенций</a:t>
            </a:r>
            <a:endParaRPr lang="en-US" sz="800" b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076056" y="908720"/>
            <a:ext cx="374441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i="1" dirty="0" smtClean="0">
                <a:cs typeface="Times New Roman" pitchFamily="18" charset="0"/>
              </a:rPr>
              <a:t>Статья 82 Федерального закона от 29.12.2012 № 273-ФЗ «Об образовании в Российской Федерации»</a:t>
            </a:r>
            <a:r>
              <a:rPr lang="ru-RU" sz="1050" dirty="0" smtClean="0">
                <a:cs typeface="Times New Roman" pitchFamily="18" charset="0"/>
              </a:rPr>
              <a:t> реализация профессиональных образовательных программ медицинского и фармацевтического образования обеспечивает </a:t>
            </a:r>
            <a:r>
              <a:rPr lang="ru-RU" sz="1050" b="1" u="sng" dirty="0" smtClean="0">
                <a:cs typeface="Times New Roman" pitchFamily="18" charset="0"/>
              </a:rPr>
              <a:t>непрерывное совершенствование </a:t>
            </a:r>
            <a:r>
              <a:rPr lang="ru-RU" sz="1050" dirty="0" smtClean="0">
                <a:cs typeface="Times New Roman" pitchFamily="18" charset="0"/>
              </a:rPr>
              <a:t>профессиональных знаний и навыков в течение всей жизни, а также </a:t>
            </a:r>
            <a:r>
              <a:rPr lang="ru-RU" sz="1050" b="1" u="sng" dirty="0" smtClean="0">
                <a:cs typeface="Times New Roman" pitchFamily="18" charset="0"/>
              </a:rPr>
              <a:t>постоянное повышение профессионального уровня и расширение квалификации</a:t>
            </a:r>
            <a:endParaRPr lang="ru-RU" sz="1050" b="1" u="sng" dirty="0">
              <a:cs typeface="Times New Roman" pitchFamily="18" charset="0"/>
            </a:endParaRPr>
          </a:p>
        </p:txBody>
      </p:sp>
      <p:sp>
        <p:nvSpPr>
          <p:cNvPr id="23" name="Auf der gleichen Seite des Rechtecks liegende Ecken abrunden 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95536" y="3140968"/>
            <a:ext cx="4328864" cy="648072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endParaRPr lang="ru-RU" sz="1000" b="1" dirty="0" smtClean="0">
              <a:cs typeface="Times New Roman" pitchFamily="18" charset="0"/>
            </a:endParaRPr>
          </a:p>
          <a:p>
            <a:pPr marL="0" lvl="1" algn="ctr">
              <a:defRPr/>
            </a:pPr>
            <a:r>
              <a:rPr lang="ru-RU" sz="1000" b="1" dirty="0" smtClean="0">
                <a:cs typeface="Times New Roman" pitchFamily="18" charset="0"/>
              </a:rPr>
              <a:t>Формирование эффективной  системы непрерывного профессионального образования </a:t>
            </a:r>
            <a:r>
              <a:rPr lang="ru-RU" sz="1000" b="1" dirty="0" smtClean="0">
                <a:solidFill>
                  <a:srgbClr val="FF0000"/>
                </a:solidFill>
                <a:cs typeface="Times New Roman" pitchFamily="18" charset="0"/>
              </a:rPr>
              <a:t>НЕВОЗМОЖНО </a:t>
            </a:r>
          </a:p>
          <a:p>
            <a:pPr marL="0" lvl="1" algn="ctr">
              <a:defRPr/>
            </a:pPr>
            <a:r>
              <a:rPr lang="ru-RU" sz="1000" b="1" dirty="0" smtClean="0">
                <a:solidFill>
                  <a:schemeClr val="tx1"/>
                </a:solidFill>
                <a:cs typeface="Times New Roman" pitchFamily="18" charset="0"/>
              </a:rPr>
              <a:t>без взаимодействия с профессиональным сообществом </a:t>
            </a:r>
          </a:p>
          <a:p>
            <a:pPr marL="0" lvl="1" algn="ctr">
              <a:defRPr/>
            </a:pPr>
            <a:r>
              <a:rPr lang="ru-RU" sz="1000" b="1" dirty="0" smtClean="0">
                <a:cs typeface="Times New Roman" pitchFamily="18" charset="0"/>
              </a:rPr>
              <a:t> </a:t>
            </a:r>
            <a:endParaRPr lang="en-US" sz="1000" b="1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4" name="Стрелка вниз 23"/>
          <p:cNvSpPr/>
          <p:nvPr/>
        </p:nvSpPr>
        <p:spPr>
          <a:xfrm rot="2960696">
            <a:off x="4754330" y="3270573"/>
            <a:ext cx="346444" cy="423624"/>
          </a:xfrm>
          <a:prstGeom prst="downArrow">
            <a:avLst>
              <a:gd name="adj1" fmla="val 50000"/>
              <a:gd name="adj2" fmla="val 62231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26" name="Auf der gleichen Seite des Rechtecks liegende Ecken abrunden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95536" y="3789040"/>
            <a:ext cx="4328864" cy="1584176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b"/>
          <a:lstStyle/>
          <a:p>
            <a:pPr marL="0" lvl="1" algn="ctr">
              <a:defRPr/>
            </a:pPr>
            <a:endParaRPr lang="ru-RU" sz="1000" b="1" dirty="0" smtClean="0">
              <a:cs typeface="Times New Roman" pitchFamily="18" charset="0"/>
            </a:endParaRPr>
          </a:p>
          <a:p>
            <a:pPr marL="0" lvl="1" algn="ctr">
              <a:defRPr/>
            </a:pPr>
            <a:r>
              <a:rPr lang="ru-RU" sz="1000" b="1" dirty="0" smtClean="0">
                <a:cs typeface="Times New Roman" pitchFamily="18" charset="0"/>
              </a:rPr>
              <a:t>Координационный совет по развитию непрерывного медицинского и фармацевтического образования Министерства здравоохранения Российской Федерации был сформирован приказом  Минздрава России от 18.02.2013 № 82 </a:t>
            </a:r>
          </a:p>
          <a:p>
            <a:pPr marL="0" lvl="1" algn="ctr">
              <a:defRPr/>
            </a:pPr>
            <a:r>
              <a:rPr lang="ru-RU" sz="1000" b="1" dirty="0" smtClean="0">
                <a:solidFill>
                  <a:schemeClr val="tx1"/>
                </a:solidFill>
                <a:cs typeface="Times New Roman" pitchFamily="18" charset="0"/>
              </a:rPr>
              <a:t>с целью </a:t>
            </a:r>
            <a:r>
              <a:rPr lang="ru-RU" sz="1000" b="1" dirty="0" smtClean="0">
                <a:solidFill>
                  <a:srgbClr val="FF0000"/>
                </a:solidFill>
                <a:cs typeface="Times New Roman" pitchFamily="18" charset="0"/>
              </a:rPr>
              <a:t>КООРДИНАЦИИ ДЕЯТЕЛЬНОСТИ И ОПТИМИЗАЦИИ СОТРУДНИЧЕСТВА </a:t>
            </a:r>
            <a:r>
              <a:rPr lang="ru-RU" sz="1000" b="1" dirty="0" smtClean="0">
                <a:cs typeface="Times New Roman" pitchFamily="18" charset="0"/>
              </a:rPr>
              <a:t>Министерства здравоохранения Российской Федерации и профессиональных медицинских организаций в сфере повышения квалификации медицинских кадров, развития организационной структуры и содержания непрерывного медицинского образования </a:t>
            </a:r>
            <a:endParaRPr lang="en-US" sz="1000" b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8" name="Стрелка вниз 27"/>
          <p:cNvSpPr/>
          <p:nvPr/>
        </p:nvSpPr>
        <p:spPr>
          <a:xfrm rot="2960696">
            <a:off x="4754330" y="4422701"/>
            <a:ext cx="346444" cy="423623"/>
          </a:xfrm>
          <a:prstGeom prst="downArrow">
            <a:avLst>
              <a:gd name="adj1" fmla="val 50000"/>
              <a:gd name="adj2" fmla="val 62231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29" name="Стрелка вниз 28"/>
          <p:cNvSpPr/>
          <p:nvPr/>
        </p:nvSpPr>
        <p:spPr>
          <a:xfrm rot="2960696">
            <a:off x="4754329" y="1470373"/>
            <a:ext cx="346444" cy="423623"/>
          </a:xfrm>
          <a:prstGeom prst="downArrow">
            <a:avLst>
              <a:gd name="adj1" fmla="val 50000"/>
              <a:gd name="adj2" fmla="val 62231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95536" y="5373216"/>
            <a:ext cx="6048672" cy="1169551"/>
          </a:xfrm>
          <a:prstGeom prst="rect">
            <a:avLst/>
          </a:prstGeom>
          <a:ln w="28575"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cs typeface="Times New Roman" pitchFamily="18" charset="0"/>
              </a:rPr>
              <a:t>Модернизация системы дополнительного профессионального образования</a:t>
            </a:r>
          </a:p>
          <a:p>
            <a:r>
              <a:rPr lang="ru-RU" sz="1000" dirty="0" smtClean="0">
                <a:cs typeface="Times New Roman" pitchFamily="18" charset="0"/>
              </a:rPr>
              <a:t>Отработка механизмов внедрения непрерывного медицинского образования  в Российской Федерации</a:t>
            </a:r>
          </a:p>
          <a:p>
            <a:r>
              <a:rPr lang="ru-RU" sz="1000" dirty="0" smtClean="0">
                <a:cs typeface="Times New Roman" pitchFamily="18" charset="0"/>
              </a:rPr>
              <a:t>Внедрение современных дистанционных, электронных и </a:t>
            </a:r>
            <a:r>
              <a:rPr lang="ru-RU" sz="1000" dirty="0" err="1" smtClean="0">
                <a:cs typeface="Times New Roman" pitchFamily="18" charset="0"/>
              </a:rPr>
              <a:t>симуляционных</a:t>
            </a:r>
            <a:r>
              <a:rPr lang="ru-RU" sz="1000" dirty="0" smtClean="0">
                <a:cs typeface="Times New Roman" pitchFamily="18" charset="0"/>
              </a:rPr>
              <a:t> образовательных технологий в  непрерывное медицинское образование</a:t>
            </a:r>
          </a:p>
          <a:p>
            <a:r>
              <a:rPr lang="ru-RU" sz="1000" dirty="0" smtClean="0">
                <a:cs typeface="Times New Roman" pitchFamily="18" charset="0"/>
              </a:rPr>
              <a:t>Определение наиболее действенных инструментов мотивации врачей к участию в  непрерывном медицинском образовании</a:t>
            </a:r>
          </a:p>
          <a:p>
            <a:r>
              <a:rPr lang="ru-RU" sz="1000" dirty="0" smtClean="0">
                <a:cs typeface="Times New Roman" pitchFamily="18" charset="0"/>
              </a:rPr>
              <a:t>Определение порядка ведения врачами отчетности по образовательной активности</a:t>
            </a:r>
            <a:endParaRPr lang="ru-RU" sz="1000" dirty="0">
              <a:cs typeface="Times New Roman" pitchFamily="18" charset="0"/>
            </a:endParaRPr>
          </a:p>
        </p:txBody>
      </p:sp>
      <p:sp>
        <p:nvSpPr>
          <p:cNvPr id="31" name="Auf der gleichen Seite des Rechtecks liegende Ecken abrunden 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660232" y="5445224"/>
            <a:ext cx="2160240" cy="86409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1000" b="1" i="1" dirty="0" smtClean="0">
                <a:solidFill>
                  <a:schemeClr val="tx1"/>
                </a:solidFill>
                <a:cs typeface="Times New Roman" pitchFamily="18" charset="0"/>
              </a:rPr>
              <a:t>ЗАДАЧИ КООРДИНАЦИОННОГО СОВЕТА</a:t>
            </a:r>
            <a:endParaRPr lang="en-US" sz="1000" b="1" i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5076056" y="4077072"/>
            <a:ext cx="3888432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i="1" dirty="0" smtClean="0">
                <a:cs typeface="Times New Roman" pitchFamily="18" charset="0"/>
              </a:rPr>
              <a:t>Статья 76 Федерального закона от 21.11.2011 № 323-ФЗ «Об основах охраны здоровья граждан в Российской Федерации</a:t>
            </a:r>
            <a:r>
              <a:rPr lang="ru-RU" sz="1050" b="1" dirty="0" smtClean="0">
                <a:cs typeface="Times New Roman" pitchFamily="18" charset="0"/>
              </a:rPr>
              <a:t>» </a:t>
            </a:r>
            <a:r>
              <a:rPr lang="ru-RU" sz="1050" dirty="0" smtClean="0">
                <a:cs typeface="Times New Roman" pitchFamily="18" charset="0"/>
              </a:rPr>
              <a:t>профессиональные некоммерческие организации могут в установленном законодательством Российской Федерации порядке принимать участие … </a:t>
            </a:r>
            <a:r>
              <a:rPr lang="ru-RU" sz="1050" b="1" u="sng" dirty="0" smtClean="0">
                <a:cs typeface="Times New Roman" pitchFamily="18" charset="0"/>
              </a:rPr>
              <a:t>в разработке  программ подготовки и повышения квалификации медицинских работников и фармацевтических работников</a:t>
            </a:r>
            <a:r>
              <a:rPr lang="ru-RU" sz="1050" dirty="0" smtClean="0">
                <a:cs typeface="Times New Roman" pitchFamily="18" charset="0"/>
              </a:rPr>
              <a:t>…</a:t>
            </a:r>
            <a:endParaRPr lang="ru-RU" sz="1050" b="1" u="sng" dirty="0">
              <a:cs typeface="Times New Roman" pitchFamily="18" charset="0"/>
            </a:endParaRPr>
          </a:p>
        </p:txBody>
      </p:sp>
      <p:grpSp>
        <p:nvGrpSpPr>
          <p:cNvPr id="22" name="Группа 31"/>
          <p:cNvGrpSpPr>
            <a:grpSpLocks/>
          </p:cNvGrpSpPr>
          <p:nvPr/>
        </p:nvGrpSpPr>
        <p:grpSpPr bwMode="auto">
          <a:xfrm>
            <a:off x="-20638" y="764704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27" name="Прямоугольник 26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0"/>
            <a:ext cx="9144000" cy="83661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4000" y="187325"/>
            <a:ext cx="8602663" cy="463550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РОЛЬ ПРОФЕССИОНАЛЬНЫХ НЕКОММЕРЧЕСКИХ ОРГАНИЗАЦИЙ</a:t>
            </a:r>
            <a:b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</a:b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 В НЕПРЕРЫВНОМ ОБРАЗОВАНИИ </a:t>
            </a:r>
          </a:p>
        </p:txBody>
      </p:sp>
      <p:sp>
        <p:nvSpPr>
          <p:cNvPr id="10244" name="AutoShape 6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0245" name="AutoShape 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0246" name="AutoShape 1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90563" y="1635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-4763" y="1231900"/>
            <a:ext cx="9144001" cy="0"/>
          </a:xfrm>
          <a:prstGeom prst="line">
            <a:avLst/>
          </a:prstGeom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Скругленный прямоугольник 31"/>
          <p:cNvSpPr/>
          <p:nvPr/>
        </p:nvSpPr>
        <p:spPr>
          <a:xfrm>
            <a:off x="2231676" y="1268760"/>
            <a:ext cx="6502619" cy="1547068"/>
          </a:xfrm>
          <a:prstGeom prst="round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latin typeface="+mn-lt"/>
              </a:rPr>
              <a:t>Создание </a:t>
            </a:r>
            <a:r>
              <a:rPr lang="ru-RU" sz="1400" dirty="0">
                <a:latin typeface="+mn-lt"/>
              </a:rPr>
              <a:t>К</a:t>
            </a:r>
            <a:r>
              <a:rPr lang="ru-RU" sz="1400" dirty="0" smtClean="0">
                <a:latin typeface="+mn-lt"/>
              </a:rPr>
              <a:t>оординационного совета </a:t>
            </a:r>
            <a:r>
              <a:rPr lang="ru-RU" sz="1400" dirty="0">
                <a:latin typeface="+mn-lt"/>
              </a:rPr>
              <a:t>по развитию непрерывного медицинского и фармацевтического образования Министерства здравоохранения Российской Федерации </a:t>
            </a:r>
            <a:r>
              <a:rPr lang="ru-RU" sz="1400" dirty="0" smtClean="0">
                <a:latin typeface="+mn-lt"/>
              </a:rPr>
              <a:t>(Приказ </a:t>
            </a:r>
            <a:r>
              <a:rPr lang="ru-RU" sz="1400" dirty="0">
                <a:latin typeface="+mn-lt"/>
              </a:rPr>
              <a:t>Минздрава России от 18.02.2013 N 82 «О Координационном совете по развитию непрерывного медицинского и фармацевтического образования Министерства здравоохранения Российской Федерации</a:t>
            </a:r>
            <a:r>
              <a:rPr lang="ru-RU" sz="1400" dirty="0" smtClean="0">
                <a:latin typeface="+mn-lt"/>
              </a:rPr>
              <a:t>»)</a:t>
            </a:r>
            <a:endParaRPr lang="ru-RU" sz="1400" dirty="0">
              <a:latin typeface="+mn-lt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2230401" y="3506770"/>
            <a:ext cx="6503894" cy="1325282"/>
          </a:xfrm>
          <a:prstGeom prst="round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spcAft>
                <a:spcPts val="1200"/>
              </a:spcAft>
            </a:pPr>
            <a:r>
              <a:rPr lang="ru-RU" altLang="ru-RU" sz="1400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Начало реализации </a:t>
            </a:r>
            <a:r>
              <a:rPr lang="ru-RU" altLang="ru-RU" sz="1400" dirty="0" err="1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Пилотного</a:t>
            </a:r>
            <a:r>
              <a:rPr lang="ru-RU" altLang="ru-RU" sz="1400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 проекта НМО (Приказ Минздрава России от 11 ноября 2013 года №837 «Об утверждении положения о модели отработки основных принципов непрерывного медицинского образования …  с участием медицинских профессиональных некоммерческих организаций» (в редакции приказа Минздрава России от 09.06.2015 №328)</a:t>
            </a:r>
            <a:r>
              <a:rPr lang="en-US" altLang="ru-RU" sz="1400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 </a:t>
            </a:r>
            <a:r>
              <a:rPr lang="ru-RU" altLang="ru-RU" sz="1400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через </a:t>
            </a:r>
            <a:r>
              <a:rPr lang="en-US" altLang="ru-RU" sz="1400" b="1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sovetnmo.ru</a:t>
            </a:r>
            <a:endParaRPr lang="ru-RU" altLang="ru-RU" sz="1400" b="1" dirty="0">
              <a:solidFill>
                <a:schemeClr val="tx1"/>
              </a:solidFill>
              <a:ea typeface="Cambria Math" pitchFamily="18" charset="0"/>
              <a:cs typeface="Cambria Math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361950" y="1385888"/>
            <a:ext cx="1581150" cy="4603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февраль 2013 г</a:t>
            </a:r>
          </a:p>
        </p:txBody>
      </p:sp>
      <p:sp>
        <p:nvSpPr>
          <p:cNvPr id="38" name="Прямоугольник 37"/>
          <p:cNvSpPr/>
          <p:nvPr/>
        </p:nvSpPr>
        <p:spPr bwMode="auto">
          <a:xfrm>
            <a:off x="249238" y="3503613"/>
            <a:ext cx="1581150" cy="4603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accent3"/>
                </a:solidFill>
              </a:rPr>
              <a:t>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с ноября 2013 г</a:t>
            </a:r>
          </a:p>
        </p:txBody>
      </p:sp>
      <p:sp>
        <p:nvSpPr>
          <p:cNvPr id="45" name="Прямоугольник 44"/>
          <p:cNvSpPr/>
          <p:nvPr/>
        </p:nvSpPr>
        <p:spPr bwMode="auto">
          <a:xfrm>
            <a:off x="346075" y="5413375"/>
            <a:ext cx="1581150" cy="4270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accent3"/>
                </a:solidFill>
              </a:rPr>
              <a:t>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с января 2016 г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2230401" y="5408116"/>
            <a:ext cx="6481934" cy="536658"/>
          </a:xfrm>
          <a:prstGeom prst="roundRect">
            <a:avLst/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spcAft>
                <a:spcPts val="1200"/>
              </a:spcAft>
            </a:pPr>
            <a:r>
              <a:rPr lang="ru-RU" altLang="ru-RU" sz="1400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Работа в рамках системы непрерывного медицинского и фармацевтического образования через </a:t>
            </a:r>
            <a:r>
              <a:rPr lang="en-US" altLang="ru-RU" sz="1400" b="1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edu.rosminzdrav.ru</a:t>
            </a:r>
            <a:endParaRPr lang="ru-RU" altLang="ru-RU" sz="1400" b="1" dirty="0">
              <a:solidFill>
                <a:schemeClr val="tx1"/>
              </a:solidFill>
              <a:ea typeface="Cambria Math" pitchFamily="18" charset="0"/>
              <a:cs typeface="Cambria Math" pitchFamily="18" charset="0"/>
            </a:endParaRPr>
          </a:p>
        </p:txBody>
      </p:sp>
      <p:pic>
        <p:nvPicPr>
          <p:cNvPr id="17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684000" cy="67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" name="Группа 31"/>
          <p:cNvGrpSpPr>
            <a:grpSpLocks/>
          </p:cNvGrpSpPr>
          <p:nvPr/>
        </p:nvGrpSpPr>
        <p:grpSpPr bwMode="auto">
          <a:xfrm>
            <a:off x="-20638" y="764704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19" name="Прямоугольник 18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Inhaltsplatzhalter 7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4355976" y="3212976"/>
            <a:ext cx="720080" cy="331236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wordArtVert" lIns="90000" tIns="46800" rIns="90000" bIns="4680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ts val="300"/>
              </a:spcBef>
              <a:defRPr/>
            </a:pPr>
            <a:r>
              <a:rPr lang="ru-RU" sz="1400" b="1" dirty="0" smtClean="0">
                <a:solidFill>
                  <a:srgbClr val="FF0000"/>
                </a:solidFill>
                <a:cs typeface="Arial" pitchFamily="34" charset="0"/>
              </a:rPr>
              <a:t>АККРЕДИТАЦИЯ</a:t>
            </a:r>
            <a:endParaRPr lang="ru-RU" sz="1400" b="1" dirty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7" name="Auf der gleichen Seite des Rechtecks liegende Ecken abrunden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39552" y="2636912"/>
            <a:ext cx="8208914" cy="523220"/>
          </a:xfrm>
          <a:prstGeom prst="rect">
            <a:avLst/>
          </a:prstGeom>
          <a:solidFill>
            <a:schemeClr val="accent1">
              <a:lumMod val="60000"/>
              <a:lumOff val="40000"/>
              <a:alpha val="43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lvl="1" algn="ctr">
              <a:defRPr/>
            </a:pPr>
            <a:r>
              <a:rPr lang="ru-RU" sz="1400" b="1" dirty="0">
                <a:solidFill>
                  <a:schemeClr val="tx1"/>
                </a:solidFill>
                <a:cs typeface="Times New Roman" panose="02020603050405020304" pitchFamily="18" charset="0"/>
              </a:rPr>
              <a:t>ФОРМИРОВАНИЕ СИСТЕМЫ ПОДГОТОВКИ СПЕЦИАЛИСТА С МЕДИЦИНСКИМ </a:t>
            </a:r>
            <a:r>
              <a:rPr lang="ru-RU" sz="1400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ОБРАЗОВАНИЕМ И</a:t>
            </a:r>
          </a:p>
          <a:p>
            <a:pPr marL="0" lvl="1" algn="ctr">
              <a:defRPr/>
            </a:pPr>
            <a:r>
              <a:rPr lang="ru-RU" sz="1400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ПОВЫШЕНИЕ ЭФФЕКТИВНОСТИ ДЕЯТЕЛЬНОСТИ МЕДИЦИНСКИХ ОРГАНИЗАЦИЙ</a:t>
            </a:r>
            <a:endParaRPr lang="en-US" sz="1400" b="1" dirty="0" smtClean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Inhaltsplatzhalter 7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076056" y="1772816"/>
            <a:ext cx="3816424" cy="504056"/>
          </a:xfrm>
          <a:prstGeom prst="round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indent="0" defTabSz="91440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>
                <a:solidFill>
                  <a:schemeClr val="tx2"/>
                </a:solidFill>
                <a:latin typeface="+mn-lt"/>
              </a:defRPr>
            </a:lvl1pPr>
            <a:lvl2pPr marL="0" lvl="1" indent="0" algn="ctr" defTabSz="91440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1400">
                <a:latin typeface="Arial" pitchFamily="34" charset="0"/>
                <a:cs typeface="Arial" pitchFamily="34" charset="0"/>
              </a:defRPr>
            </a:lvl2pPr>
            <a:lvl3pPr marL="180975" indent="-180975" defTabSz="91440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3pPr>
            <a:lvl4pPr marL="361950" indent="-180975" defTabSz="91440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4pPr>
            <a:lvl5pPr marL="542925" indent="-180975" defTabSz="91440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>
                <a:latin typeface="+mn-lt"/>
              </a:defRPr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КЛИНИЧЕСКИЕ РЕКОМЕНДАЦИИ</a:t>
            </a:r>
          </a:p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(2014г. </a:t>
            </a:r>
            <a:r>
              <a:rPr lang="ru-RU" sz="1100" b="1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–</a:t>
            </a:r>
            <a:r>
              <a:rPr lang="ru-RU" b="1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  900; 2015г. – 1200)</a:t>
            </a:r>
          </a:p>
        </p:txBody>
      </p:sp>
      <p:sp>
        <p:nvSpPr>
          <p:cNvPr id="16" name="Прямоугольник 13"/>
          <p:cNvSpPr txBox="1">
            <a:spLocks noChangeArrowheads="1"/>
          </p:cNvSpPr>
          <p:nvPr/>
        </p:nvSpPr>
        <p:spPr bwMode="auto">
          <a:xfrm>
            <a:off x="1115616" y="125998"/>
            <a:ext cx="7797565" cy="28803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20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r>
              <a:rPr lang="ru-RU" dirty="0"/>
              <a:t>КАДРОВОЕ ОБЕСПЕЧЕНИЕ КАЧЕСТВА МЕДИЦИНСКОЙ ПОМОЩИ</a:t>
            </a:r>
          </a:p>
        </p:txBody>
      </p:sp>
      <p:sp>
        <p:nvSpPr>
          <p:cNvPr id="21" name="Inhaltsplatzhalter 7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755576" y="1772816"/>
            <a:ext cx="2520279" cy="431353"/>
          </a:xfrm>
          <a:prstGeom prst="round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 smtClean="0">
                <a:cs typeface="Times New Roman" panose="02020603050405020304" pitchFamily="18" charset="0"/>
              </a:rPr>
              <a:t>ПОРЯДКИ ОКАЗАНИЯ МЕДИЦИНСКОЙ ПОМОЩИ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45" name="Правая фигурная скобка 44"/>
          <p:cNvSpPr/>
          <p:nvPr/>
        </p:nvSpPr>
        <p:spPr>
          <a:xfrm rot="16200000" flipH="1">
            <a:off x="4355975" y="-2115615"/>
            <a:ext cx="432049" cy="8928992"/>
          </a:xfrm>
          <a:prstGeom prst="rightBrace">
            <a:avLst>
              <a:gd name="adj1" fmla="val 22387"/>
              <a:gd name="adj2" fmla="val 49948"/>
            </a:avLst>
          </a:prstGeom>
          <a:ln w="285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79512" y="764704"/>
            <a:ext cx="8749480" cy="954107"/>
          </a:xfrm>
          <a:prstGeom prst="rect">
            <a:avLst/>
          </a:prstGeom>
          <a:noFill/>
          <a:ln w="19050">
            <a:solidFill>
              <a:schemeClr val="accent6">
                <a:lumMod val="75000"/>
              </a:schemeClr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FF0000"/>
                </a:solidFill>
              </a:rPr>
              <a:t>ПРОФЕССИОНАЛЬНОЕ МЕДИЦИНСКОЕ СООБЩЕСТВО: 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rgbClr val="FF0000"/>
                </a:solidFill>
              </a:rPr>
              <a:t>профессиональные </a:t>
            </a:r>
            <a:r>
              <a:rPr lang="ru-RU" sz="1400" b="1" dirty="0">
                <a:solidFill>
                  <a:srgbClr val="FF0000"/>
                </a:solidFill>
              </a:rPr>
              <a:t>некоммерческие организации, главные внештатные специалисты, профильные </a:t>
            </a:r>
            <a:r>
              <a:rPr lang="ru-RU" sz="1400" b="1" dirty="0" smtClean="0">
                <a:solidFill>
                  <a:srgbClr val="FF0000"/>
                </a:solidFill>
              </a:rPr>
              <a:t>комиссии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rgbClr val="FF0000"/>
                </a:solidFill>
              </a:rPr>
              <a:t>НАЦИОНАЛЬНЫЕ НАУЧНО-ПРАКТИЧЕСКИЕ МЕДИЦИНСКИЕ ЦЕНТРЫ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rgbClr val="FF0000"/>
                </a:solidFill>
              </a:rPr>
              <a:t>(научно-методическое и экспертное обеспечение отрасли)</a:t>
            </a:r>
            <a:endParaRPr lang="ru-RU" sz="1400" b="1" dirty="0">
              <a:solidFill>
                <a:srgbClr val="FF0000"/>
              </a:solidFill>
            </a:endParaRPr>
          </a:p>
        </p:txBody>
      </p:sp>
      <p:sp>
        <p:nvSpPr>
          <p:cNvPr id="39" name="Auf der gleichen Seite des Rechtecks liegende Ecken abrunden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51520" y="3429000"/>
            <a:ext cx="4104456" cy="1296144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1200" b="1" dirty="0" smtClean="0">
                <a:solidFill>
                  <a:schemeClr val="tx1"/>
                </a:solidFill>
                <a:cs typeface="Arial" pitchFamily="34" charset="0"/>
              </a:rPr>
              <a:t>ФЕДЕРАЛЬНЫЕ ГОСУДАРСТВЕННЫЕ </a:t>
            </a:r>
          </a:p>
          <a:p>
            <a:pPr marL="0" lvl="1" algn="ctr">
              <a:defRPr/>
            </a:pPr>
            <a:r>
              <a:rPr lang="ru-RU" sz="1200" b="1" dirty="0" smtClean="0">
                <a:solidFill>
                  <a:schemeClr val="tx1"/>
                </a:solidFill>
                <a:cs typeface="Arial" pitchFamily="34" charset="0"/>
              </a:rPr>
              <a:t>ОБРАЗОВАТЕЛЬНЫЕ СТАНДАРТЫ: </a:t>
            </a:r>
          </a:p>
          <a:p>
            <a:pPr marL="0" lvl="1" algn="ctr">
              <a:defRPr/>
            </a:pPr>
            <a:r>
              <a:rPr lang="ru-RU" sz="1200" b="1" dirty="0" smtClean="0">
                <a:solidFill>
                  <a:schemeClr val="tx1"/>
                </a:solidFill>
                <a:cs typeface="Arial" pitchFamily="34" charset="0"/>
              </a:rPr>
              <a:t>БАКАЛАВРИАТ,  СПЕЦИАЛИТЕТ, МАГИСТРАТУРА</a:t>
            </a:r>
          </a:p>
          <a:p>
            <a:pPr marL="0" lvl="1" algn="ctr">
              <a:defRPr/>
            </a:pPr>
            <a:r>
              <a:rPr lang="ru-RU" sz="1200" b="1" dirty="0" smtClean="0">
                <a:solidFill>
                  <a:schemeClr val="tx1"/>
                </a:solidFill>
                <a:cs typeface="Arial" pitchFamily="34" charset="0"/>
              </a:rPr>
              <a:t>- 190 обновленных программ дисциплин, </a:t>
            </a:r>
          </a:p>
          <a:p>
            <a:pPr marL="0" lvl="1" algn="ctr">
              <a:defRPr/>
            </a:pPr>
            <a:r>
              <a:rPr lang="ru-RU" sz="1200" b="1" dirty="0" smtClean="0">
                <a:solidFill>
                  <a:schemeClr val="tx1"/>
                </a:solidFill>
                <a:cs typeface="Arial" pitchFamily="34" charset="0"/>
              </a:rPr>
              <a:t>ПРОГРАММЫ ОРДИНАТУРЫ  - 94 стандарта, 94 типовые образовательные программы, ПРОГРАММЫ АСПИРАНТУРЫ</a:t>
            </a:r>
            <a:endParaRPr lang="en-US" sz="1200" b="1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0" name="Inhaltsplatzhalter 7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51520" y="4833156"/>
            <a:ext cx="4104456" cy="504056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Bef>
                <a:spcPts val="300"/>
              </a:spcBef>
              <a:defRPr/>
            </a:pPr>
            <a:r>
              <a:rPr lang="ru-RU" sz="1200" b="1" dirty="0" smtClean="0">
                <a:cs typeface="Arial" pitchFamily="34" charset="0"/>
              </a:rPr>
              <a:t>ДИСТАНЦИОННЫЕ  ОБРАЗОВАТЕЛЬНЫЕ ИНТЕРАКТИВНЫЕ ПРОГРАММЫ – НЕПРЕРЫВНОЕ ПРОФЕССИОНАЛЬНОЕ ОБРАЗОВАНИЕ СПЕЦИАЛИСТОВ</a:t>
            </a:r>
          </a:p>
        </p:txBody>
      </p:sp>
      <p:sp>
        <p:nvSpPr>
          <p:cNvPr id="31" name="Inhaltsplatzhalter 7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251520" y="5949280"/>
            <a:ext cx="4104456" cy="576064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>
            <a:defPPr>
              <a:defRPr lang="ru-RU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 algn="ctr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  <a:cs typeface="Arial" pitchFamily="34" charset="0"/>
              </a:defRPr>
            </a:lvl2pPr>
            <a:lvl3pPr marL="1809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61950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54292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>
                <a:solidFill>
                  <a:schemeClr val="tx1"/>
                </a:solidFill>
              </a:defRPr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1"/>
            <a:r>
              <a:rPr lang="ru-RU" dirty="0"/>
              <a:t>ПОДГОТОВКА ПРОФЕСОРСКО-ПЕДАГОГИЧЕСКОГО СОСТАВА ОБРАЗОВАТЕЛЬНЫХ ОРГАНИЗАЦИЙ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(более 5000, в т.ч. на центральных базах - 1000)</a:t>
            </a:r>
          </a:p>
        </p:txBody>
      </p:sp>
      <p:sp>
        <p:nvSpPr>
          <p:cNvPr id="29" name="Inhaltsplatzhalter 7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51520" y="5445224"/>
            <a:ext cx="4104456" cy="432048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>
            <a:defPPr>
              <a:defRPr lang="ru-RU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 algn="ctr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  <a:cs typeface="Arial" pitchFamily="34" charset="0"/>
              </a:defRPr>
            </a:lvl2pPr>
            <a:lvl3pPr marL="1809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61950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54292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>
                <a:solidFill>
                  <a:schemeClr val="tx1"/>
                </a:solidFill>
              </a:defRPr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1"/>
            <a:r>
              <a:rPr lang="ru-RU" dirty="0"/>
              <a:t>СИМУЛЯЦИОННО-ТРЕНИНГОВЫЕ ТЕХНОЛОГИИ</a:t>
            </a:r>
          </a:p>
          <a:p>
            <a:pPr lvl="1"/>
            <a:r>
              <a:rPr lang="ru-RU" dirty="0"/>
              <a:t>(БОЛЕЕ 70 СИМУЛЯЦИОННЫХ ЦЕНТРОВ)</a:t>
            </a:r>
          </a:p>
        </p:txBody>
      </p:sp>
      <p:sp>
        <p:nvSpPr>
          <p:cNvPr id="28" name="Inhaltsplatzhalter 7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5055170" y="5157192"/>
            <a:ext cx="3837310" cy="180020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>
            <a:defPPr>
              <a:defRPr lang="ru-RU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 algn="ctr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  <a:cs typeface="Arial" pitchFamily="34" charset="0"/>
              </a:defRPr>
            </a:lvl2pPr>
            <a:lvl3pPr marL="1809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61950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54292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>
                <a:solidFill>
                  <a:schemeClr val="tx1"/>
                </a:solidFill>
              </a:defRPr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1"/>
            <a:r>
              <a:rPr lang="ru-RU" dirty="0"/>
              <a:t>ВНЕДРЕНИЕ  «ОБРАЗОВАТЕЛЬНОГО СЕРТИФИКАТА»</a:t>
            </a:r>
          </a:p>
        </p:txBody>
      </p:sp>
      <p:sp>
        <p:nvSpPr>
          <p:cNvPr id="33" name="Inhaltsplatzhalter 7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5076056" y="3429000"/>
            <a:ext cx="3816424" cy="504056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>
            <a:defPPr>
              <a:defRPr lang="ru-RU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 algn="ctr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  <a:cs typeface="Arial" pitchFamily="34" charset="0"/>
              </a:defRPr>
            </a:lvl2pPr>
            <a:lvl3pPr marL="1809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61950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54292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>
                <a:solidFill>
                  <a:schemeClr val="tx1"/>
                </a:solidFill>
              </a:defRPr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1"/>
            <a:r>
              <a:rPr lang="ru-RU" dirty="0"/>
              <a:t>РАЗРАБОТКА И ВНЕДРЕНИЕ КРИТЕРИЕВ КАЧЕСТВА ОКАЗАНИЯ МЕДИЦИНСКОЙ ПОМОЩИ</a:t>
            </a:r>
          </a:p>
        </p:txBody>
      </p:sp>
      <p:sp>
        <p:nvSpPr>
          <p:cNvPr id="34" name="Inhaltsplatzhalter 7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5076056" y="4005064"/>
            <a:ext cx="3816424" cy="288032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>
            <a:defPPr>
              <a:defRPr lang="ru-RU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 algn="ctr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  <a:cs typeface="Arial" pitchFamily="34" charset="0"/>
              </a:defRPr>
            </a:lvl2pPr>
            <a:lvl3pPr marL="1809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61950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54292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>
                <a:solidFill>
                  <a:schemeClr val="tx1"/>
                </a:solidFill>
              </a:defRPr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1"/>
            <a:r>
              <a:rPr lang="ru-RU" dirty="0"/>
              <a:t>ВНЕДРЕНИЕ НЕЗАВИСИМОЙ ЭКСПЕРТИЗЫ КАЧЕСТВА </a:t>
            </a:r>
          </a:p>
        </p:txBody>
      </p:sp>
      <p:sp>
        <p:nvSpPr>
          <p:cNvPr id="35" name="Inhaltsplatzhalter 7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076056" y="4365104"/>
            <a:ext cx="3816424" cy="720080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>
            <a:defPPr>
              <a:defRPr lang="ru-RU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 algn="ctr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  <a:cs typeface="Arial" pitchFamily="34" charset="0"/>
              </a:defRPr>
            </a:lvl2pPr>
            <a:lvl3pPr marL="1809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61950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54292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>
                <a:solidFill>
                  <a:schemeClr val="tx1"/>
                </a:solidFill>
              </a:defRPr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1"/>
            <a:r>
              <a:rPr lang="ru-RU" dirty="0"/>
              <a:t>ПОДГОТОВКА ЭКСПЕРТОВ ОЦЕНКИ КАЧЕСТВА МЕДИЦИНСКОЙ ПОМОЩИ В СИСТЕМЕ ОМС С УЧЕТОМ РАЗРАБАТЫВАЕМЫХ И УТВЕРЖДАЕМЫХ КЛИНИЧЕСКИХ РЕКОМЕНДАЦИЙ</a:t>
            </a:r>
          </a:p>
        </p:txBody>
      </p:sp>
      <p:sp>
        <p:nvSpPr>
          <p:cNvPr id="37" name="Inhaltsplatzhalter 7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076056" y="5445224"/>
            <a:ext cx="3816424" cy="720080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>
            <a:defPPr>
              <a:defRPr lang="ru-RU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 algn="ctr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  <a:cs typeface="Arial" pitchFamily="34" charset="0"/>
              </a:defRPr>
            </a:lvl2pPr>
            <a:lvl3pPr marL="1809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61950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54292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>
                <a:solidFill>
                  <a:schemeClr val="tx1"/>
                </a:solidFill>
              </a:defRPr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1"/>
            <a:r>
              <a:rPr lang="ru-RU" dirty="0"/>
              <a:t>ПОДГОТОВКА «УПРАВЛЕНЧЕСКИХ» КАДРОВ, В ТОМ ЧИСЛЕ В 2015 </a:t>
            </a:r>
            <a:r>
              <a:rPr lang="ru-RU" dirty="0" smtClean="0"/>
              <a:t>ГОДУ БОЛЕЕ  3 ТЫС. </a:t>
            </a:r>
            <a:r>
              <a:rPr lang="ru-RU" dirty="0"/>
              <a:t>ЗАМЕСТИТЕЛЕЙ РУКОВОДИТЕЛЕЙ ПО ЭКОНОМИКЕ </a:t>
            </a:r>
            <a:r>
              <a:rPr lang="ru-RU" dirty="0" smtClean="0"/>
              <a:t>МЕД. </a:t>
            </a:r>
            <a:r>
              <a:rPr lang="ru-RU" dirty="0"/>
              <a:t>ОРГАНИЗАЦИЙ СУБЪЕКТОВ РОССИЙСКОЙ ФЕДЕРАЦИИ</a:t>
            </a:r>
          </a:p>
        </p:txBody>
      </p:sp>
      <p:sp>
        <p:nvSpPr>
          <p:cNvPr id="38" name="Inhaltsplatzhalter 7"/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5076056" y="6237312"/>
            <a:ext cx="3816424" cy="288032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>
            <a:defPPr>
              <a:defRPr lang="ru-RU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 algn="ctr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1200" b="1">
                <a:solidFill>
                  <a:schemeClr val="tx1"/>
                </a:solidFill>
                <a:cs typeface="Arial" pitchFamily="34" charset="0"/>
              </a:defRPr>
            </a:lvl2pPr>
            <a:lvl3pPr marL="1809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361950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54292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>
                <a:solidFill>
                  <a:schemeClr val="tx1"/>
                </a:solidFill>
              </a:defRPr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1"/>
            <a:r>
              <a:rPr lang="ru-RU" dirty="0"/>
              <a:t>ВНЕДРЕНИЕ ЭФФЕКТИВНОГО МЕНЕДЖМЕНТА </a:t>
            </a:r>
          </a:p>
        </p:txBody>
      </p:sp>
      <p:sp>
        <p:nvSpPr>
          <p:cNvPr id="20" name="Inhaltsplatzhalter 7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3131840" y="1772816"/>
            <a:ext cx="2880320" cy="504056"/>
          </a:xfrm>
          <a:prstGeom prst="round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indent="0" defTabSz="91440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>
                <a:solidFill>
                  <a:schemeClr val="tx2"/>
                </a:solidFill>
                <a:latin typeface="+mn-lt"/>
              </a:defRPr>
            </a:lvl1pPr>
            <a:lvl2pPr marL="0" lvl="1" indent="0" algn="ctr" defTabSz="91440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1400">
                <a:latin typeface="Arial" pitchFamily="34" charset="0"/>
                <a:cs typeface="Arial" pitchFamily="34" charset="0"/>
              </a:defRPr>
            </a:lvl2pPr>
            <a:lvl3pPr marL="180975" indent="-180975" defTabSz="91440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3pPr>
            <a:lvl4pPr marL="361950" indent="-180975" defTabSz="91440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4pPr>
            <a:lvl5pPr marL="542925" indent="-180975" defTabSz="91440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>
                <a:latin typeface="+mn-lt"/>
              </a:defRPr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>
                <a:latin typeface="+mn-lt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ПРОФЕССИОНАЛЬНЫЕ СТАНДАРТЫ</a:t>
            </a:r>
          </a:p>
        </p:txBody>
      </p:sp>
      <p:sp>
        <p:nvSpPr>
          <p:cNvPr id="23" name="Номер слайда 50"/>
          <p:cNvSpPr>
            <a:spLocks noGrp="1"/>
          </p:cNvSpPr>
          <p:nvPr>
            <p:ph type="sldNum" sz="quarter" idx="12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pPr>
              <a:defRPr/>
            </a:pPr>
            <a:fld id="{28A22B0F-A538-4F7F-B522-76E6578FD6E4}" type="slidenum">
              <a:rPr lang="ru-RU" sz="1400" b="1" smtClean="0">
                <a:solidFill>
                  <a:schemeClr val="tx1"/>
                </a:solidFill>
              </a:rPr>
              <a:pPr>
                <a:defRPr/>
              </a:pPr>
              <a:t>2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grpSp>
        <p:nvGrpSpPr>
          <p:cNvPr id="27" name="Группа 31"/>
          <p:cNvGrpSpPr>
            <a:grpSpLocks/>
          </p:cNvGrpSpPr>
          <p:nvPr/>
        </p:nvGrpSpPr>
        <p:grpSpPr bwMode="auto">
          <a:xfrm>
            <a:off x="0" y="476672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32" name="Прямоугольник 31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22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07504" y="0"/>
            <a:ext cx="432048" cy="432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48161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0"/>
            <a:ext cx="9144000" cy="83661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4000" y="187325"/>
            <a:ext cx="8602663" cy="463550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rgbClr val="004A48"/>
                </a:solidFill>
                <a:latin typeface="+mn-lt"/>
              </a:rPr>
              <a:t>ФУНКЦИИ ПРОФЕССИОНАЛЬНЫХ НЕКОММЕРЧЕСКИХ ОРГАНИЗАЦИЙ </a:t>
            </a:r>
            <a:br>
              <a:rPr lang="ru-RU" altLang="ru-RU" sz="2000" b="1" dirty="0" smtClean="0">
                <a:solidFill>
                  <a:srgbClr val="004A48"/>
                </a:solidFill>
                <a:latin typeface="+mn-lt"/>
              </a:rPr>
            </a:br>
            <a:r>
              <a:rPr lang="ru-RU" altLang="ru-RU" sz="2000" b="1" dirty="0" smtClean="0">
                <a:solidFill>
                  <a:srgbClr val="004A48"/>
                </a:solidFill>
                <a:latin typeface="+mn-lt"/>
              </a:rPr>
              <a:t>В РЕАЛИЗАЦИИ НЕПРЕРЫВНОГО ОБРАЗОВАНИЯ </a:t>
            </a:r>
          </a:p>
        </p:txBody>
      </p:sp>
      <p:sp>
        <p:nvSpPr>
          <p:cNvPr id="12292" name="AutoShape 6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2293" name="AutoShape 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2294" name="AutoShape 1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90563" y="1635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20700" y="1268760"/>
            <a:ext cx="8364803" cy="4608511"/>
          </a:xfrm>
          <a:prstGeom prst="roundRect">
            <a:avLst>
              <a:gd name="adj" fmla="val 10274"/>
            </a:avLst>
          </a:prstGeom>
          <a:noFill/>
          <a:ln>
            <a:noFill/>
          </a:ln>
          <a:effectLst>
            <a:glow rad="139700">
              <a:schemeClr val="accent4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 eaLnBrk="1" hangingPunct="1">
              <a:spcAft>
                <a:spcPts val="1200"/>
              </a:spcAft>
              <a:buFont typeface="Calibri" pitchFamily="34" charset="0"/>
              <a:buAutoNum type="arabicPeriod"/>
            </a:pPr>
            <a:r>
              <a:rPr lang="ru-RU" altLang="ru-RU" sz="1600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реализация ДПП ПК в сетевой форме в рамках </a:t>
            </a:r>
            <a:r>
              <a:rPr lang="ru-RU" altLang="ru-RU" sz="1600" dirty="0" err="1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Пилотного</a:t>
            </a:r>
            <a:r>
              <a:rPr lang="ru-RU" altLang="ru-RU" sz="1600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 проекта и вне его;</a:t>
            </a:r>
          </a:p>
          <a:p>
            <a:pPr marL="342900" indent="-342900" eaLnBrk="1" hangingPunct="1">
              <a:spcAft>
                <a:spcPts val="1200"/>
              </a:spcAft>
              <a:buFont typeface="Calibri" pitchFamily="34" charset="0"/>
              <a:buAutoNum type="arabicPeriod"/>
            </a:pPr>
            <a:r>
              <a:rPr lang="ru-RU" altLang="ru-RU" sz="1600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организация очных образовательных мероприятий;</a:t>
            </a:r>
          </a:p>
          <a:p>
            <a:pPr marL="342900" indent="-342900" eaLnBrk="1" hangingPunct="1">
              <a:spcAft>
                <a:spcPts val="1200"/>
              </a:spcAft>
              <a:buFont typeface="Calibri" pitchFamily="34" charset="0"/>
              <a:buAutoNum type="arabicPeriod"/>
            </a:pPr>
            <a:r>
              <a:rPr lang="ru-RU" altLang="ru-RU" sz="1600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разработка интерактивных образовательных модулей;</a:t>
            </a:r>
          </a:p>
          <a:p>
            <a:pPr marL="342900" indent="-342900" eaLnBrk="1" hangingPunct="1">
              <a:spcAft>
                <a:spcPts val="1200"/>
              </a:spcAft>
              <a:buFont typeface="Calibri" pitchFamily="34" charset="0"/>
              <a:buAutoNum type="arabicPeriod"/>
            </a:pPr>
            <a:r>
              <a:rPr lang="ru-RU" altLang="ru-RU" sz="1600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рецензия очных образовательных мероприятий и интерактивных образовательных модулей (определение соответствия требованиям) в рамках </a:t>
            </a:r>
            <a:r>
              <a:rPr lang="ru-RU" altLang="ru-RU" sz="1600" dirty="0" err="1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Пилотного</a:t>
            </a:r>
            <a:r>
              <a:rPr lang="ru-RU" altLang="ru-RU" sz="1600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 </a:t>
            </a:r>
            <a:r>
              <a:rPr lang="ru-RU" altLang="ru-RU" sz="1600" dirty="0" smtClean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проекта</a:t>
            </a:r>
            <a:endParaRPr lang="ru-RU" altLang="ru-RU" sz="1600" dirty="0">
              <a:solidFill>
                <a:schemeClr val="tx1"/>
              </a:solidFill>
              <a:ea typeface="Cambria Math" pitchFamily="18" charset="0"/>
              <a:cs typeface="Cambria Math" pitchFamily="18" charset="0"/>
            </a:endParaRPr>
          </a:p>
          <a:p>
            <a:pPr marL="342900" indent="-342900" eaLnBrk="1" hangingPunct="1">
              <a:spcAft>
                <a:spcPts val="1200"/>
              </a:spcAft>
              <a:buFont typeface="Calibri" pitchFamily="34" charset="0"/>
              <a:buAutoNum type="arabicPeriod"/>
            </a:pPr>
            <a:r>
              <a:rPr lang="ru-RU" altLang="ru-RU" sz="1600" i="1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экспертиза очных образовательных мероприятий и интерактивных образовательных модулей через Личный кабинет на </a:t>
            </a:r>
            <a:r>
              <a:rPr lang="en-US" altLang="ru-RU" b="1" i="1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edu.rosminzdrav.ru</a:t>
            </a:r>
          </a:p>
          <a:p>
            <a:pPr marL="342900" indent="-342900" eaLnBrk="1" hangingPunct="1">
              <a:spcAft>
                <a:spcPts val="1200"/>
              </a:spcAft>
              <a:buFont typeface="Calibri" pitchFamily="34" charset="0"/>
              <a:buAutoNum type="arabicPeriod"/>
            </a:pPr>
            <a:r>
              <a:rPr lang="ru-RU" altLang="ru-RU" sz="1600" i="1" dirty="0">
                <a:solidFill>
                  <a:schemeClr val="tx1"/>
                </a:solidFill>
                <a:ea typeface="Cambria Math" pitchFamily="18" charset="0"/>
                <a:cs typeface="Cambria Math" pitchFamily="18" charset="0"/>
              </a:rPr>
              <a:t>разработка клинических рекомендаций (формирование электронных образовательных курсов по клиническим рекомендациям)</a:t>
            </a:r>
          </a:p>
        </p:txBody>
      </p:sp>
      <p:pic>
        <p:nvPicPr>
          <p:cNvPr id="11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684000" cy="67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" name="Группа 31"/>
          <p:cNvGrpSpPr>
            <a:grpSpLocks/>
          </p:cNvGrpSpPr>
          <p:nvPr/>
        </p:nvGrpSpPr>
        <p:grpSpPr bwMode="auto">
          <a:xfrm>
            <a:off x="-20638" y="764704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13" name="Прямоугольник 12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576064"/>
          </a:xfrm>
        </p:spPr>
        <p:txBody>
          <a:bodyPr>
            <a:noAutofit/>
          </a:bodyPr>
          <a:lstStyle/>
          <a:p>
            <a:pPr eaLnBrk="0" hangingPunct="0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800" b="1" dirty="0" smtClean="0">
                <a:solidFill>
                  <a:srgbClr val="002060"/>
                </a:solidFill>
                <a:latin typeface="+mn-lt"/>
                <a:ea typeface="+mn-ea"/>
                <a:cs typeface="Times New Roman" pitchFamily="18" charset="0"/>
              </a:rPr>
              <a:t>РОЛЬ ПРОФЕССИОНАЛЬНЫХ МЕДИЦИНСКИХ ОБЪЕДИНЕНИЙ В СИСТЕМЕ НЕПРЕРЫВНОГО ПРОФЕССИОНАЛЬНОГО ОБРАЗОВАНИЯ </a:t>
            </a:r>
            <a:endParaRPr lang="ru-RU" sz="1800" b="1" dirty="0">
              <a:solidFill>
                <a:srgbClr val="002060"/>
              </a:solidFill>
              <a:latin typeface="+mn-lt"/>
              <a:ea typeface="+mn-ea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1</a:t>
            </a:fld>
            <a:endParaRPr lang="ru-RU" dirty="0"/>
          </a:p>
        </p:txBody>
      </p:sp>
      <p:pic>
        <p:nvPicPr>
          <p:cNvPr id="7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684000" cy="67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f der gleichen Seite des Rechtecks liegende Ecken abrunden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03648" y="1484784"/>
            <a:ext cx="1296144" cy="1224136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1000" b="1" dirty="0" smtClean="0">
                <a:solidFill>
                  <a:schemeClr val="tx1"/>
                </a:solidFill>
                <a:cs typeface="Times New Roman" pitchFamily="18" charset="0"/>
              </a:rPr>
              <a:t>Проведение конференций, семинаров, съездов по специальности</a:t>
            </a:r>
            <a:endParaRPr lang="en-US" sz="1000" b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5" name="Auf der gleichen Seite des Rechtecks liegende Ecken abrunden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6200000">
            <a:off x="-1656692" y="3465004"/>
            <a:ext cx="4896544" cy="936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endParaRPr lang="ru-RU" sz="1000" b="1" dirty="0" smtClean="0">
              <a:cs typeface="Times New Roman" pitchFamily="18" charset="0"/>
            </a:endParaRPr>
          </a:p>
          <a:p>
            <a:pPr marL="0" lvl="1" algn="ctr">
              <a:defRPr/>
            </a:pPr>
            <a:r>
              <a:rPr lang="ru-RU" sz="1200" b="1" dirty="0" smtClean="0">
                <a:solidFill>
                  <a:srgbClr val="FF0000"/>
                </a:solidFill>
                <a:cs typeface="Times New Roman" pitchFamily="18" charset="0"/>
              </a:rPr>
              <a:t>ПРОФЕССИОНАЛЬНОЕ СООБЩЕСТВО ПО  МЕДИЦИНСКОЙ ИЛИ ФАРМАЦЕВТИЧЕСКОЙ СПЕЦИАЛЬНОСТИ (НКО) </a:t>
            </a:r>
          </a:p>
          <a:p>
            <a:pPr marL="0" lvl="1" algn="ctr">
              <a:defRPr/>
            </a:pPr>
            <a:endParaRPr lang="en-US" sz="1100" b="1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0" name="Auf der gleichen Seite des Rechtecks liegende Ecken abrunden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403648" y="2708920"/>
            <a:ext cx="1296144" cy="1368152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1000" b="1" dirty="0" smtClean="0">
                <a:solidFill>
                  <a:schemeClr val="tx1"/>
                </a:solidFill>
                <a:cs typeface="Times New Roman" pitchFamily="18" charset="0"/>
              </a:rPr>
              <a:t>Повышение квалификации по  своей специальности</a:t>
            </a:r>
            <a:endParaRPr lang="en-US" sz="1000" b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7" name="Auf der gleichen Seite des Rechtecks liegende Ecken abrunden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403648" y="4077072"/>
            <a:ext cx="1296144" cy="2304256"/>
          </a:xfrm>
          <a:prstGeom prst="rect">
            <a:avLst/>
          </a:prstGeom>
          <a:ln>
            <a:solidFill>
              <a:srgbClr val="385D8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1000" b="1" dirty="0" smtClean="0">
                <a:solidFill>
                  <a:schemeClr val="tx1"/>
                </a:solidFill>
                <a:cs typeface="Times New Roman" pitchFamily="18" charset="0"/>
              </a:rPr>
              <a:t>Участие в разработке образовательных материалов, профессиональных стандартов,  порядков и стандартов оказания медицинской помощи, протоколов лечения</a:t>
            </a:r>
            <a:endParaRPr lang="en-US" sz="1000" b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987824" y="1484785"/>
            <a:ext cx="5941168" cy="2580388"/>
          </a:xfrm>
          <a:prstGeom prst="rect">
            <a:avLst/>
          </a:prstGeom>
          <a:ln w="28575"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pPr marL="72000"/>
            <a:r>
              <a:rPr lang="ru-RU" sz="1050" b="1" i="1" dirty="0" smtClean="0">
                <a:cs typeface="Times New Roman" pitchFamily="18" charset="0"/>
              </a:rPr>
              <a:t>В разработке и актуализации профессиональных стандартов и порядков оказания медицинской помощи по своей специальности</a:t>
            </a:r>
          </a:p>
          <a:p>
            <a:pPr marL="72000"/>
            <a:r>
              <a:rPr lang="ru-RU" sz="1050" b="1" i="1" dirty="0" smtClean="0">
                <a:cs typeface="Times New Roman" pitchFamily="18" charset="0"/>
              </a:rPr>
              <a:t>В актуализации программ повышения квалификации по своей специальности и гармонизации дополнительного профессионального образования на территории Российской Федерации в соответствии с профессиональными стандартами</a:t>
            </a:r>
          </a:p>
          <a:p>
            <a:pPr marL="72000"/>
            <a:r>
              <a:rPr lang="ru-RU" sz="1050" b="1" i="1" dirty="0" smtClean="0">
                <a:cs typeface="Times New Roman" pitchFamily="18" charset="0"/>
              </a:rPr>
              <a:t>В разработке высококачественных материалов для повышения квалификации специалистов (национальные руководства, клинические рекомендации (протоколы), электронные образовательные материалы, в том по специальностям, тестовые вопросы для контроля ) в системе непрерывного образования</a:t>
            </a:r>
          </a:p>
          <a:p>
            <a:pPr marL="72000"/>
            <a:r>
              <a:rPr lang="ru-RU" sz="1050" b="1" i="1" dirty="0" smtClean="0">
                <a:cs typeface="Times New Roman" pitchFamily="18" charset="0"/>
              </a:rPr>
              <a:t>В проведении образовательных мероприятий (конференции, семинары и иные виды)</a:t>
            </a:r>
          </a:p>
          <a:p>
            <a:pPr marL="72000"/>
            <a:r>
              <a:rPr lang="ru-RU" sz="1050" b="1" i="1" dirty="0" smtClean="0">
                <a:cs typeface="Times New Roman" pitchFamily="18" charset="0"/>
              </a:rPr>
              <a:t>В организации внутри общества экспертных советов для независимой оценки качества образовательных материалов и мероприятий</a:t>
            </a:r>
          </a:p>
          <a:p>
            <a:pPr marL="72000"/>
            <a:r>
              <a:rPr lang="ru-RU" sz="1050" b="1" i="1" dirty="0" smtClean="0">
                <a:cs typeface="Times New Roman" pitchFamily="18" charset="0"/>
              </a:rPr>
              <a:t>В назначении ответственных за развитие непрерывного медицинского образования внутри общества</a:t>
            </a:r>
          </a:p>
          <a:p>
            <a:endParaRPr lang="ru-RU" sz="1000" dirty="0">
              <a:cs typeface="Times New Roman" pitchFamily="18" charset="0"/>
            </a:endParaRPr>
          </a:p>
        </p:txBody>
      </p:sp>
      <p:sp>
        <p:nvSpPr>
          <p:cNvPr id="37" name="Auf der gleichen Seite des Rechtecks liegende Ecken abrunden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275856" y="980728"/>
            <a:ext cx="4464496" cy="36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  <a:prstDash val="sysDot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marL="0" lvl="1" algn="ctr">
              <a:defRPr/>
            </a:pPr>
            <a:r>
              <a:rPr lang="ru-RU" sz="1000" b="1" dirty="0" smtClean="0">
                <a:cs typeface="Times New Roman" pitchFamily="18" charset="0"/>
              </a:rPr>
              <a:t>ЗАДАЧИ ПРОФЕССИОНАЛЬНЫХ МЕДИЦИНСКИХ ОБЪЕДИНЕНИЙ </a:t>
            </a:r>
            <a:endParaRPr lang="en-US" sz="1000" b="1" i="1" dirty="0" smtClean="0">
              <a:solidFill>
                <a:schemeClr val="tx1"/>
              </a:solidFill>
              <a:cs typeface="Times New Roman" pitchFamily="18" charset="0"/>
            </a:endParaRPr>
          </a:p>
        </p:txBody>
      </p:sp>
      <p:graphicFrame>
        <p:nvGraphicFramePr>
          <p:cNvPr id="35" name="Содержимое 34"/>
          <p:cNvGraphicFramePr>
            <a:graphicFrameLocks noGrp="1"/>
          </p:cNvGraphicFramePr>
          <p:nvPr>
            <p:ph sz="half" idx="1"/>
          </p:nvPr>
        </p:nvGraphicFramePr>
        <p:xfrm>
          <a:off x="2987824" y="4149080"/>
          <a:ext cx="5976664" cy="2232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4166"/>
                <a:gridCol w="1494166"/>
                <a:gridCol w="1494166"/>
                <a:gridCol w="1494166"/>
              </a:tblGrid>
              <a:tr h="607059">
                <a:tc>
                  <a:txBody>
                    <a:bodyPr/>
                    <a:lstStyle/>
                    <a:p>
                      <a:pPr algn="ctr"/>
                      <a:r>
                        <a:rPr lang="ru-RU" sz="1000" i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Образовательные  материалы</a:t>
                      </a:r>
                      <a:endParaRPr lang="ru-RU" sz="1000" i="1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i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Стандарты и порядки  оказания медицинской помощи</a:t>
                      </a:r>
                      <a:endParaRPr lang="ru-RU" sz="1000" b="1" i="1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i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Профессиональные стандарты</a:t>
                      </a:r>
                      <a:endParaRPr lang="ru-RU" sz="1000" b="1" i="1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i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Протоколы</a:t>
                      </a:r>
                      <a:r>
                        <a:rPr lang="ru-RU" sz="1000" b="1" i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 лечения </a:t>
                      </a:r>
                      <a:endParaRPr lang="ru-RU" sz="1000" b="1" i="1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833102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Электронные учебные модули</a:t>
                      </a: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 с тестовыми заданиями</a:t>
                      </a:r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Приказ Минздрава России от 07.07.2015 № 422ан «Об утверждении критериев оценки качества медицинской помощи»</a:t>
                      </a:r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Профессиональная деятельность </a:t>
                      </a:r>
                    </a:p>
                    <a:p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Объекты</a:t>
                      </a: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 </a:t>
                      </a:r>
                    </a:p>
                    <a:p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Процессы </a:t>
                      </a:r>
                    </a:p>
                    <a:p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условия</a:t>
                      </a:r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Федеральные клинические рекомендации</a:t>
                      </a:r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10789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Дистанционные лекции,</a:t>
                      </a: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 </a:t>
                      </a:r>
                      <a:r>
                        <a:rPr lang="ru-RU" sz="900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вебинары</a:t>
                      </a:r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Приказы Минздрава России  об утверждении  порядков и стандартов</a:t>
                      </a:r>
                    </a:p>
                    <a:p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Приказы Минтруда России об утверждении профессиональных стандартов</a:t>
                      </a:r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Утверждаются</a:t>
                      </a:r>
                      <a:r>
                        <a:rPr lang="ru-RU" sz="9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 профессиональным сообществом по специальности</a:t>
                      </a:r>
                      <a:endParaRPr lang="ru-RU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2" name="Группа 31"/>
          <p:cNvGrpSpPr>
            <a:grpSpLocks/>
          </p:cNvGrpSpPr>
          <p:nvPr/>
        </p:nvGrpSpPr>
        <p:grpSpPr bwMode="auto">
          <a:xfrm>
            <a:off x="-20638" y="764704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13" name="Прямоугольник 12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Стрелка вправо 43"/>
          <p:cNvSpPr/>
          <p:nvPr/>
        </p:nvSpPr>
        <p:spPr bwMode="auto">
          <a:xfrm rot="5400000">
            <a:off x="5302250" y="4384676"/>
            <a:ext cx="2827337" cy="157162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3" name="Стрелка вправо 42"/>
          <p:cNvSpPr/>
          <p:nvPr/>
        </p:nvSpPr>
        <p:spPr bwMode="auto">
          <a:xfrm rot="5400000">
            <a:off x="1034256" y="4383882"/>
            <a:ext cx="2827337" cy="158750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0" y="3263900"/>
            <a:ext cx="9144000" cy="2303463"/>
          </a:xfrm>
          <a:prstGeom prst="rect">
            <a:avLst/>
          </a:prstGeom>
          <a:solidFill>
            <a:srgbClr val="DFEAEB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0" y="0"/>
            <a:ext cx="9144000" cy="83661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4000" y="187325"/>
            <a:ext cx="8602663" cy="463550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ПЕРИОД ВХОЖДЕНИЯ В  СИСТЕМУ НЕПРЕРЫВНОГО МЕДИЦИНСКОГО И ФАРМАЦЕВТИЧЕСКОГО ОБРАЗОВАНИЯ (2016 - 2020 ГГ)</a:t>
            </a:r>
          </a:p>
        </p:txBody>
      </p:sp>
      <p:sp>
        <p:nvSpPr>
          <p:cNvPr id="6151" name="AutoShape 6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152" name="AutoShape 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153" name="AutoShape 1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90563" y="1635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4716463" y="2028825"/>
            <a:ext cx="3978275" cy="896938"/>
          </a:xfrm>
          <a:prstGeom prst="roundRect">
            <a:avLst>
              <a:gd name="adj" fmla="val 4641"/>
            </a:avLst>
          </a:prstGeom>
          <a:noFill/>
          <a:ln w="22225">
            <a:solidFill>
              <a:schemeClr val="tx1">
                <a:lumMod val="65000"/>
                <a:lumOff val="35000"/>
              </a:schemeClr>
            </a:solidFill>
          </a:ln>
          <a:effectLst/>
          <a:extLst/>
        </p:spPr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Если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до 1 января 2016 года –</a:t>
            </a:r>
          </a:p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 формируют и осваивают индивидуальный план обучения на период менее 5 лет</a:t>
            </a:r>
          </a:p>
        </p:txBody>
      </p:sp>
      <p:sp>
        <p:nvSpPr>
          <p:cNvPr id="16" name="Стрелка вправо 15"/>
          <p:cNvSpPr/>
          <p:nvPr/>
        </p:nvSpPr>
        <p:spPr bwMode="auto">
          <a:xfrm rot="5400000">
            <a:off x="6601618" y="1764507"/>
            <a:ext cx="227013" cy="158750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 bwMode="auto">
          <a:xfrm rot="5400000">
            <a:off x="2343943" y="1793082"/>
            <a:ext cx="227013" cy="158750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487363" y="1052513"/>
            <a:ext cx="8207375" cy="647700"/>
          </a:xfrm>
          <a:prstGeom prst="roundRect">
            <a:avLst>
              <a:gd name="adj" fmla="val 4641"/>
            </a:avLst>
          </a:prstGeom>
          <a:noFill/>
          <a:ln w="22225">
            <a:solidFill>
              <a:schemeClr val="tx1">
                <a:lumMod val="65000"/>
                <a:lumOff val="35000"/>
              </a:schemeClr>
            </a:solidFill>
          </a:ln>
          <a:effectLst/>
          <a:extLst/>
        </p:spPr>
        <p:txBody>
          <a:bodyPr anchor="ctr"/>
          <a:lstStyle/>
          <a:p>
            <a:pPr algn="ctr" eaLnBrk="1" hangingPunct="1">
              <a:defRPr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С 1 января 2016 по 1 января 2021 года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вариант вхождения специалиста в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систему непрерывного образования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зависит от срока «последней» сертификации или аккредитации </a:t>
            </a:r>
            <a:endParaRPr lang="ru-RU" sz="14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 bwMode="auto">
          <a:xfrm>
            <a:off x="468313" y="2025650"/>
            <a:ext cx="3959225" cy="898525"/>
          </a:xfrm>
          <a:prstGeom prst="roundRect">
            <a:avLst>
              <a:gd name="adj" fmla="val 4641"/>
            </a:avLst>
          </a:prstGeom>
          <a:noFill/>
          <a:ln w="22225">
            <a:solidFill>
              <a:schemeClr val="tx1">
                <a:lumMod val="65000"/>
                <a:lumOff val="35000"/>
              </a:schemeClr>
            </a:solidFill>
          </a:ln>
          <a:effectLst/>
          <a:extLst/>
        </p:spPr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Если после 1 января 2016 года -</a:t>
            </a:r>
          </a:p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 формируют и осваивают пятилетний индивидуальный план обучения</a:t>
            </a:r>
          </a:p>
        </p:txBody>
      </p:sp>
      <p:sp>
        <p:nvSpPr>
          <p:cNvPr id="34" name="Скругленный прямоугольник 33"/>
          <p:cNvSpPr>
            <a:spLocks noChangeArrowheads="1"/>
          </p:cNvSpPr>
          <p:nvPr/>
        </p:nvSpPr>
        <p:spPr bwMode="auto">
          <a:xfrm>
            <a:off x="400050" y="3798888"/>
            <a:ext cx="3773488" cy="40005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19050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Программы  повышения квалификации</a:t>
            </a:r>
          </a:p>
        </p:txBody>
      </p:sp>
      <p:sp>
        <p:nvSpPr>
          <p:cNvPr id="35" name="Скругленный прямоугольник 34"/>
          <p:cNvSpPr>
            <a:spLocks noChangeArrowheads="1"/>
          </p:cNvSpPr>
          <p:nvPr/>
        </p:nvSpPr>
        <p:spPr bwMode="auto">
          <a:xfrm>
            <a:off x="4530725" y="3798888"/>
            <a:ext cx="4106863" cy="40005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19050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Образовательные мероприятия</a:t>
            </a:r>
          </a:p>
        </p:txBody>
      </p:sp>
      <p:sp>
        <p:nvSpPr>
          <p:cNvPr id="36" name="Скругленный прямоугольник 35"/>
          <p:cNvSpPr>
            <a:spLocks noChangeArrowheads="1"/>
          </p:cNvSpPr>
          <p:nvPr/>
        </p:nvSpPr>
        <p:spPr bwMode="auto">
          <a:xfrm>
            <a:off x="6856413" y="4776788"/>
            <a:ext cx="1781175" cy="684212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eaLnBrk="1" hangingPunct="1"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</a:rPr>
              <a:t>интерактивные образовательные модули </a:t>
            </a:r>
          </a:p>
        </p:txBody>
      </p:sp>
      <p:sp>
        <p:nvSpPr>
          <p:cNvPr id="37" name="Скругленный прямоугольник 36"/>
          <p:cNvSpPr/>
          <p:nvPr/>
        </p:nvSpPr>
        <p:spPr bwMode="auto">
          <a:xfrm>
            <a:off x="4530725" y="4295775"/>
            <a:ext cx="2054225" cy="360363"/>
          </a:xfrm>
          <a:prstGeom prst="roundRect">
            <a:avLst>
              <a:gd name="adj" fmla="val 15222"/>
            </a:avLst>
          </a:prstGeom>
          <a:solidFill>
            <a:schemeClr val="bg1">
              <a:lumMod val="10000"/>
              <a:lumOff val="90000"/>
            </a:schemeClr>
          </a:solidFill>
          <a:ln w="22225">
            <a:solidFill>
              <a:schemeClr val="tx1">
                <a:lumMod val="65000"/>
                <a:lumOff val="35000"/>
              </a:schemeClr>
            </a:solidFill>
          </a:ln>
          <a:effectLst/>
          <a:extLst/>
        </p:spPr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очные</a:t>
            </a:r>
          </a:p>
        </p:txBody>
      </p:sp>
      <p:sp>
        <p:nvSpPr>
          <p:cNvPr id="38" name="Скругленный прямоугольник 37"/>
          <p:cNvSpPr/>
          <p:nvPr/>
        </p:nvSpPr>
        <p:spPr bwMode="auto">
          <a:xfrm>
            <a:off x="6856413" y="4297363"/>
            <a:ext cx="1781175" cy="360362"/>
          </a:xfrm>
          <a:prstGeom prst="roundRect">
            <a:avLst>
              <a:gd name="adj" fmla="val 15222"/>
            </a:avLst>
          </a:prstGeom>
          <a:solidFill>
            <a:schemeClr val="bg1">
              <a:lumMod val="10000"/>
              <a:lumOff val="90000"/>
            </a:schemeClr>
          </a:solidFill>
          <a:ln w="22225">
            <a:solidFill>
              <a:schemeClr val="tx1">
                <a:lumMod val="65000"/>
                <a:lumOff val="35000"/>
              </a:schemeClr>
            </a:solidFill>
          </a:ln>
          <a:effectLst/>
          <a:extLst/>
        </p:spPr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заочные</a:t>
            </a:r>
          </a:p>
        </p:txBody>
      </p:sp>
      <p:sp>
        <p:nvSpPr>
          <p:cNvPr id="39" name="Скругленный прямоугольник 38"/>
          <p:cNvSpPr>
            <a:spLocks noChangeArrowheads="1"/>
          </p:cNvSpPr>
          <p:nvPr/>
        </p:nvSpPr>
        <p:spPr bwMode="auto">
          <a:xfrm>
            <a:off x="4530725" y="4776788"/>
            <a:ext cx="2019300" cy="684212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marL="285750" indent="-285750" eaLnBrk="1" hangingPunct="1">
              <a:buFontTx/>
              <a:buChar char="-"/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</a:rPr>
              <a:t>конференции, </a:t>
            </a:r>
          </a:p>
          <a:p>
            <a:pPr marL="285750" indent="-285750" eaLnBrk="1" hangingPunct="1">
              <a:buFontTx/>
              <a:buChar char="-"/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</a:rPr>
              <a:t>семинары, </a:t>
            </a:r>
          </a:p>
          <a:p>
            <a:pPr marL="285750" indent="-285750" eaLnBrk="1" hangingPunct="1">
              <a:buFontTx/>
              <a:buChar char="-"/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</a:rPr>
              <a:t>мастер-классы и т.д.</a:t>
            </a:r>
          </a:p>
        </p:txBody>
      </p:sp>
      <p:sp>
        <p:nvSpPr>
          <p:cNvPr id="40" name="Скругленный прямоугольник 39"/>
          <p:cNvSpPr/>
          <p:nvPr/>
        </p:nvSpPr>
        <p:spPr bwMode="auto">
          <a:xfrm>
            <a:off x="427038" y="3398838"/>
            <a:ext cx="8207375" cy="360362"/>
          </a:xfrm>
          <a:prstGeom prst="roundRect">
            <a:avLst>
              <a:gd name="adj" fmla="val 15222"/>
            </a:avLst>
          </a:prstGeom>
          <a:solidFill>
            <a:schemeClr val="bg1">
              <a:lumMod val="10000"/>
              <a:lumOff val="90000"/>
            </a:schemeClr>
          </a:solidFill>
          <a:ln w="22225">
            <a:solidFill>
              <a:schemeClr val="tx1">
                <a:lumMod val="65000"/>
                <a:lumOff val="35000"/>
              </a:schemeClr>
            </a:solidFill>
          </a:ln>
          <a:effectLst/>
          <a:extLst/>
        </p:spPr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Компоненты индивидуального плана</a:t>
            </a:r>
          </a:p>
        </p:txBody>
      </p:sp>
      <p:sp>
        <p:nvSpPr>
          <p:cNvPr id="41" name="Скругленный прямоугольник 40"/>
          <p:cNvSpPr/>
          <p:nvPr/>
        </p:nvSpPr>
        <p:spPr bwMode="auto">
          <a:xfrm>
            <a:off x="457200" y="5997575"/>
            <a:ext cx="3981450" cy="468313"/>
          </a:xfrm>
          <a:prstGeom prst="roundRect">
            <a:avLst>
              <a:gd name="adj" fmla="val 15222"/>
            </a:avLst>
          </a:prstGeom>
          <a:solidFill>
            <a:schemeClr val="bg1">
              <a:lumMod val="10000"/>
              <a:lumOff val="90000"/>
            </a:schemeClr>
          </a:solidFill>
          <a:ln w="22225">
            <a:solidFill>
              <a:schemeClr val="tx1">
                <a:lumMod val="65000"/>
                <a:lumOff val="35000"/>
              </a:schemeClr>
            </a:solidFill>
          </a:ln>
          <a:effectLst/>
          <a:extLst/>
        </p:spPr>
        <p:txBody>
          <a:bodyPr anchor="ctr"/>
          <a:lstStyle/>
          <a:p>
            <a:pPr marL="285750" indent="-285750" algn="ctr" eaLnBrk="1" hangingPunct="1">
              <a:buFontTx/>
              <a:buChar char="-"/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не менее 250 часов за 5 лет</a:t>
            </a:r>
          </a:p>
        </p:txBody>
      </p:sp>
      <p:sp>
        <p:nvSpPr>
          <p:cNvPr id="42" name="Скругленный прямоугольник 41"/>
          <p:cNvSpPr/>
          <p:nvPr/>
        </p:nvSpPr>
        <p:spPr bwMode="auto">
          <a:xfrm>
            <a:off x="4725988" y="5999163"/>
            <a:ext cx="3978275" cy="466725"/>
          </a:xfrm>
          <a:prstGeom prst="roundRect">
            <a:avLst>
              <a:gd name="adj" fmla="val 15222"/>
            </a:avLst>
          </a:prstGeom>
          <a:solidFill>
            <a:schemeClr val="bg1">
              <a:lumMod val="10000"/>
              <a:lumOff val="90000"/>
            </a:schemeClr>
          </a:solidFill>
          <a:ln w="22225">
            <a:solidFill>
              <a:schemeClr val="tx1">
                <a:lumMod val="65000"/>
                <a:lumOff val="35000"/>
              </a:schemeClr>
            </a:solidFill>
          </a:ln>
          <a:effectLst/>
          <a:extLst/>
        </p:spPr>
        <p:txBody>
          <a:bodyPr anchor="ctr"/>
          <a:lstStyle/>
          <a:p>
            <a:pPr marL="285750" indent="-285750" algn="ctr" eaLnBrk="1" hangingPunct="1">
              <a:buFontTx/>
              <a:buChar char="-"/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не менее 144 часов за период</a:t>
            </a:r>
          </a:p>
        </p:txBody>
      </p:sp>
      <p:sp>
        <p:nvSpPr>
          <p:cNvPr id="2" name="Овал 1"/>
          <p:cNvSpPr/>
          <p:nvPr/>
        </p:nvSpPr>
        <p:spPr>
          <a:xfrm>
            <a:off x="4114800" y="4238625"/>
            <a:ext cx="5137150" cy="1328738"/>
          </a:xfrm>
          <a:prstGeom prst="ellipse">
            <a:avLst/>
          </a:prstGeom>
          <a:noFill/>
          <a:ln w="508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Скругленная прямоугольная выноска 2"/>
          <p:cNvSpPr/>
          <p:nvPr/>
        </p:nvSpPr>
        <p:spPr>
          <a:xfrm>
            <a:off x="427038" y="4389438"/>
            <a:ext cx="3424237" cy="1071562"/>
          </a:xfrm>
          <a:prstGeom prst="wedgeRoundRectCallout">
            <a:avLst>
              <a:gd name="adj1" fmla="val 62369"/>
              <a:gd name="adj2" fmla="val 21277"/>
              <a:gd name="adj3" fmla="val 16667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</a:rPr>
              <a:t>Могут быть реализованы (разработаны) профессиональными некоммерческими организациями</a:t>
            </a:r>
          </a:p>
        </p:txBody>
      </p:sp>
      <p:pic>
        <p:nvPicPr>
          <p:cNvPr id="30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2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" name="Группа 31"/>
          <p:cNvGrpSpPr>
            <a:grpSpLocks/>
          </p:cNvGrpSpPr>
          <p:nvPr/>
        </p:nvGrpSpPr>
        <p:grpSpPr bwMode="auto">
          <a:xfrm>
            <a:off x="-20638" y="692696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32" name="Прямоугольник 31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3" grpId="0" animBg="1"/>
      <p:bldP spid="45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0"/>
            <a:ext cx="9144000" cy="83661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4000" y="187325"/>
            <a:ext cx="8602663" cy="463550"/>
          </a:xfrm>
          <a:noFill/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ПЯТИЛЕТНИЙ ПЕРИОД ОБУЧЕНИЯ В РАМКАХ НЕПРЕРЫВНОГО ОБРАЗОВАНИЯ</a:t>
            </a:r>
          </a:p>
        </p:txBody>
      </p:sp>
      <p:sp>
        <p:nvSpPr>
          <p:cNvPr id="7172" name="AutoShape 6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173" name="AutoShape 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174" name="AutoShape 1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90563" y="1635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 bwMode="auto">
          <a:xfrm>
            <a:off x="3495675" y="1123950"/>
            <a:ext cx="2159000" cy="582613"/>
          </a:xfrm>
          <a:prstGeom prst="roundRect">
            <a:avLst/>
          </a:prstGeom>
          <a:noFill/>
          <a:ln w="19050">
            <a:solidFill>
              <a:schemeClr val="accent2">
                <a:lumMod val="50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</a:rPr>
              <a:t>Сертификация/</a:t>
            </a:r>
          </a:p>
          <a:p>
            <a:pPr algn="ctr" eaLnBrk="1" hangingPunct="1">
              <a:defRPr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</a:rPr>
              <a:t>… аккредитация</a:t>
            </a:r>
          </a:p>
        </p:txBody>
      </p:sp>
      <p:sp>
        <p:nvSpPr>
          <p:cNvPr id="25" name="Скругленный прямоугольник 24"/>
          <p:cNvSpPr/>
          <p:nvPr/>
        </p:nvSpPr>
        <p:spPr bwMode="auto">
          <a:xfrm>
            <a:off x="473075" y="2208213"/>
            <a:ext cx="8239125" cy="517525"/>
          </a:xfrm>
          <a:prstGeom prst="roundRect">
            <a:avLst/>
          </a:prstGeom>
          <a:noFill/>
          <a:ln w="19050">
            <a:solidFill>
              <a:schemeClr val="accent5">
                <a:lumMod val="50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</a:rPr>
              <a:t>Профессиональная деятельность в течение 5 лет</a:t>
            </a:r>
          </a:p>
        </p:txBody>
      </p:sp>
      <p:sp>
        <p:nvSpPr>
          <p:cNvPr id="26" name="Скругленный прямоугольник 25"/>
          <p:cNvSpPr/>
          <p:nvPr/>
        </p:nvSpPr>
        <p:spPr bwMode="auto">
          <a:xfrm>
            <a:off x="612775" y="4360863"/>
            <a:ext cx="3671888" cy="760412"/>
          </a:xfrm>
          <a:prstGeom prst="round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Программы повышения квалификации непрерывного образования</a:t>
            </a:r>
          </a:p>
        </p:txBody>
      </p:sp>
      <p:sp>
        <p:nvSpPr>
          <p:cNvPr id="27" name="Скругленный прямоугольник 26"/>
          <p:cNvSpPr/>
          <p:nvPr/>
        </p:nvSpPr>
        <p:spPr bwMode="auto">
          <a:xfrm>
            <a:off x="3144838" y="5989638"/>
            <a:ext cx="3003550" cy="53975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19050">
            <a:solidFill>
              <a:schemeClr val="accent2">
                <a:lumMod val="50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anchor="ctr"/>
          <a:lstStyle/>
          <a:p>
            <a:pPr algn="ctr" eaLnBrk="1" hangingPunct="1">
              <a:defRPr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</a:rPr>
              <a:t>Периодическая  аккредитация</a:t>
            </a:r>
          </a:p>
        </p:txBody>
      </p:sp>
      <p:sp>
        <p:nvSpPr>
          <p:cNvPr id="28" name="Стрелка вправо 27"/>
          <p:cNvSpPr/>
          <p:nvPr/>
        </p:nvSpPr>
        <p:spPr bwMode="auto">
          <a:xfrm rot="5400000">
            <a:off x="4455319" y="1880394"/>
            <a:ext cx="239713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20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0" name="Стрелка вправо 29"/>
          <p:cNvSpPr/>
          <p:nvPr/>
        </p:nvSpPr>
        <p:spPr bwMode="auto">
          <a:xfrm rot="8205229">
            <a:off x="3248025" y="3973513"/>
            <a:ext cx="628650" cy="158750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20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1" name="Стрелка вправо 30"/>
          <p:cNvSpPr/>
          <p:nvPr/>
        </p:nvSpPr>
        <p:spPr bwMode="auto">
          <a:xfrm rot="10800000">
            <a:off x="5683250" y="2884488"/>
            <a:ext cx="1038225" cy="200025"/>
          </a:xfrm>
          <a:prstGeom prst="rightArrow">
            <a:avLst/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20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473075" y="2754313"/>
            <a:ext cx="8239125" cy="47307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</a:rPr>
              <a:t>Индивидуальный пятилетний план обучения (не менее 250 часов)</a:t>
            </a: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4787900" y="4370388"/>
            <a:ext cx="3760788" cy="760412"/>
          </a:xfrm>
          <a:prstGeom prst="round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Образовательные мероприятия</a:t>
            </a:r>
          </a:p>
        </p:txBody>
      </p:sp>
      <p:sp>
        <p:nvSpPr>
          <p:cNvPr id="7185" name="Правая фигурная скобка 33"/>
          <p:cNvSpPr>
            <a:spLocks/>
          </p:cNvSpPr>
          <p:nvPr/>
        </p:nvSpPr>
        <p:spPr bwMode="auto">
          <a:xfrm rot="5400000">
            <a:off x="944562" y="2819401"/>
            <a:ext cx="250825" cy="1193800"/>
          </a:xfrm>
          <a:prstGeom prst="rightBrace">
            <a:avLst>
              <a:gd name="adj1" fmla="val 39156"/>
              <a:gd name="adj2" fmla="val 50000"/>
            </a:avLst>
          </a:prstGeom>
          <a:noFill/>
          <a:ln w="25400">
            <a:solidFill>
              <a:srgbClr val="6633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186" name="Правая фигурная скобка 34"/>
          <p:cNvSpPr>
            <a:spLocks/>
          </p:cNvSpPr>
          <p:nvPr/>
        </p:nvSpPr>
        <p:spPr bwMode="auto">
          <a:xfrm rot="5400000">
            <a:off x="4421981" y="2812257"/>
            <a:ext cx="249237" cy="1193800"/>
          </a:xfrm>
          <a:prstGeom prst="rightBrace">
            <a:avLst>
              <a:gd name="adj1" fmla="val 39405"/>
              <a:gd name="adj2" fmla="val 50000"/>
            </a:avLst>
          </a:prstGeom>
          <a:noFill/>
          <a:ln w="25400">
            <a:solidFill>
              <a:srgbClr val="6633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187" name="Правая фигурная скобка 35"/>
          <p:cNvSpPr>
            <a:spLocks/>
          </p:cNvSpPr>
          <p:nvPr/>
        </p:nvSpPr>
        <p:spPr bwMode="auto">
          <a:xfrm rot="5400000">
            <a:off x="2686844" y="2804319"/>
            <a:ext cx="249237" cy="1190625"/>
          </a:xfrm>
          <a:prstGeom prst="rightBrace">
            <a:avLst>
              <a:gd name="adj1" fmla="val 39300"/>
              <a:gd name="adj2" fmla="val 50000"/>
            </a:avLst>
          </a:prstGeom>
          <a:noFill/>
          <a:ln w="25400">
            <a:solidFill>
              <a:srgbClr val="6633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188" name="Правая фигурная скобка 36"/>
          <p:cNvSpPr>
            <a:spLocks/>
          </p:cNvSpPr>
          <p:nvPr/>
        </p:nvSpPr>
        <p:spPr bwMode="auto">
          <a:xfrm rot="5400000">
            <a:off x="6205537" y="2838451"/>
            <a:ext cx="250825" cy="1193800"/>
          </a:xfrm>
          <a:prstGeom prst="rightBrace">
            <a:avLst>
              <a:gd name="adj1" fmla="val 39156"/>
              <a:gd name="adj2" fmla="val 50000"/>
            </a:avLst>
          </a:prstGeom>
          <a:noFill/>
          <a:ln w="25400">
            <a:solidFill>
              <a:srgbClr val="6633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189" name="Правая фигурная скобка 37"/>
          <p:cNvSpPr>
            <a:spLocks/>
          </p:cNvSpPr>
          <p:nvPr/>
        </p:nvSpPr>
        <p:spPr bwMode="auto">
          <a:xfrm rot="5400000">
            <a:off x="7922419" y="2844006"/>
            <a:ext cx="249238" cy="1190625"/>
          </a:xfrm>
          <a:prstGeom prst="rightBrace">
            <a:avLst>
              <a:gd name="adj1" fmla="val 39300"/>
              <a:gd name="adj2" fmla="val 50000"/>
            </a:avLst>
          </a:prstGeom>
          <a:noFill/>
          <a:ln w="25400">
            <a:solidFill>
              <a:srgbClr val="6633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190" name="TextBox 38"/>
          <p:cNvSpPr txBox="1">
            <a:spLocks noChangeArrowheads="1"/>
          </p:cNvSpPr>
          <p:nvPr/>
        </p:nvSpPr>
        <p:spPr bwMode="auto">
          <a:xfrm>
            <a:off x="4043260" y="3541713"/>
            <a:ext cx="97334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≥ 50 часов</a:t>
            </a:r>
          </a:p>
        </p:txBody>
      </p:sp>
      <p:sp>
        <p:nvSpPr>
          <p:cNvPr id="7191" name="TextBox 39"/>
          <p:cNvSpPr txBox="1">
            <a:spLocks noChangeArrowheads="1"/>
          </p:cNvSpPr>
          <p:nvPr/>
        </p:nvSpPr>
        <p:spPr bwMode="auto">
          <a:xfrm>
            <a:off x="5795860" y="3541713"/>
            <a:ext cx="97334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≥ 50 часов</a:t>
            </a:r>
          </a:p>
        </p:txBody>
      </p:sp>
      <p:sp>
        <p:nvSpPr>
          <p:cNvPr id="7192" name="TextBox 40"/>
          <p:cNvSpPr txBox="1">
            <a:spLocks noChangeArrowheads="1"/>
          </p:cNvSpPr>
          <p:nvPr/>
        </p:nvSpPr>
        <p:spPr bwMode="auto">
          <a:xfrm>
            <a:off x="7545285" y="3548063"/>
            <a:ext cx="97334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≥ 50 часов</a:t>
            </a:r>
          </a:p>
        </p:txBody>
      </p:sp>
      <p:sp>
        <p:nvSpPr>
          <p:cNvPr id="7193" name="TextBox 41"/>
          <p:cNvSpPr txBox="1">
            <a:spLocks noChangeArrowheads="1"/>
          </p:cNvSpPr>
          <p:nvPr/>
        </p:nvSpPr>
        <p:spPr bwMode="auto">
          <a:xfrm>
            <a:off x="2274785" y="3536950"/>
            <a:ext cx="97334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≥ 50 часов</a:t>
            </a:r>
          </a:p>
        </p:txBody>
      </p:sp>
      <p:sp>
        <p:nvSpPr>
          <p:cNvPr id="7194" name="TextBox 42"/>
          <p:cNvSpPr txBox="1">
            <a:spLocks noChangeArrowheads="1"/>
          </p:cNvSpPr>
          <p:nvPr/>
        </p:nvSpPr>
        <p:spPr bwMode="auto">
          <a:xfrm>
            <a:off x="503135" y="3536950"/>
            <a:ext cx="97334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≥ 50 часов</a:t>
            </a:r>
          </a:p>
        </p:txBody>
      </p:sp>
      <p:sp>
        <p:nvSpPr>
          <p:cNvPr id="56" name="TextBox 23"/>
          <p:cNvSpPr txBox="1">
            <a:spLocks noChangeArrowheads="1"/>
          </p:cNvSpPr>
          <p:nvPr/>
        </p:nvSpPr>
        <p:spPr bwMode="auto">
          <a:xfrm>
            <a:off x="1979712" y="5517232"/>
            <a:ext cx="97334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</a:rPr>
              <a:t>≥ 36 часов</a:t>
            </a:r>
          </a:p>
        </p:txBody>
      </p:sp>
      <p:sp>
        <p:nvSpPr>
          <p:cNvPr id="57" name="TextBox 24"/>
          <p:cNvSpPr txBox="1">
            <a:spLocks noChangeArrowheads="1"/>
          </p:cNvSpPr>
          <p:nvPr/>
        </p:nvSpPr>
        <p:spPr bwMode="auto">
          <a:xfrm>
            <a:off x="6156176" y="5589240"/>
            <a:ext cx="97334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≤ 14 часов</a:t>
            </a:r>
          </a:p>
        </p:txBody>
      </p:sp>
      <p:sp>
        <p:nvSpPr>
          <p:cNvPr id="58" name="Правая фигурная скобка 27"/>
          <p:cNvSpPr>
            <a:spLocks/>
          </p:cNvSpPr>
          <p:nvPr/>
        </p:nvSpPr>
        <p:spPr bwMode="auto">
          <a:xfrm rot="5400000">
            <a:off x="2293938" y="3457575"/>
            <a:ext cx="295275" cy="3686175"/>
          </a:xfrm>
          <a:prstGeom prst="rightBrace">
            <a:avLst>
              <a:gd name="adj1" fmla="val 39185"/>
              <a:gd name="adj2" fmla="val 50000"/>
            </a:avLst>
          </a:prstGeom>
          <a:noFill/>
          <a:ln w="25400">
            <a:solidFill>
              <a:srgbClr val="6633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9" name="Правая фигурная скобка 28"/>
          <p:cNvSpPr>
            <a:spLocks/>
          </p:cNvSpPr>
          <p:nvPr/>
        </p:nvSpPr>
        <p:spPr bwMode="auto">
          <a:xfrm rot="5400000">
            <a:off x="6521450" y="3419475"/>
            <a:ext cx="293688" cy="3760788"/>
          </a:xfrm>
          <a:prstGeom prst="rightBrace">
            <a:avLst>
              <a:gd name="adj1" fmla="val 39305"/>
              <a:gd name="adj2" fmla="val 50000"/>
            </a:avLst>
          </a:prstGeom>
          <a:noFill/>
          <a:ln w="25400">
            <a:solidFill>
              <a:srgbClr val="6633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ru-RU" alt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1" name="Стрелка вправо 60"/>
          <p:cNvSpPr/>
          <p:nvPr/>
        </p:nvSpPr>
        <p:spPr bwMode="auto">
          <a:xfrm rot="2523733">
            <a:off x="5243513" y="3970338"/>
            <a:ext cx="628650" cy="158750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20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2" name="Стрелка вправо 61"/>
          <p:cNvSpPr/>
          <p:nvPr/>
        </p:nvSpPr>
        <p:spPr bwMode="auto">
          <a:xfrm rot="5400000">
            <a:off x="4286250" y="5619751"/>
            <a:ext cx="541337" cy="195262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20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5" name="Овал 34"/>
          <p:cNvSpPr/>
          <p:nvPr/>
        </p:nvSpPr>
        <p:spPr>
          <a:xfrm>
            <a:off x="4114800" y="4238625"/>
            <a:ext cx="5137150" cy="1328738"/>
          </a:xfrm>
          <a:prstGeom prst="ellipse">
            <a:avLst/>
          </a:prstGeom>
          <a:noFill/>
          <a:ln w="50800">
            <a:solidFill>
              <a:srgbClr val="66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6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2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" name="Группа 31"/>
          <p:cNvGrpSpPr>
            <a:grpSpLocks/>
          </p:cNvGrpSpPr>
          <p:nvPr/>
        </p:nvGrpSpPr>
        <p:grpSpPr bwMode="auto">
          <a:xfrm>
            <a:off x="-20638" y="692696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38" name="Прямоугольник 37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30" grpId="0" animBg="1"/>
      <p:bldP spid="33" grpId="0" animBg="1"/>
      <p:bldP spid="56" grpId="0"/>
      <p:bldP spid="57" grpId="0"/>
      <p:bldP spid="58" grpId="0" animBg="1"/>
      <p:bldP spid="59" grpId="0" animBg="1"/>
      <p:bldP spid="61" grpId="0" animBg="1"/>
      <p:bldP spid="62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азвание 2"/>
          <p:cNvSpPr>
            <a:spLocks noGrp="1"/>
          </p:cNvSpPr>
          <p:nvPr>
            <p:ph type="title"/>
          </p:nvPr>
        </p:nvSpPr>
        <p:spPr>
          <a:xfrm>
            <a:off x="4283968" y="0"/>
            <a:ext cx="4392488" cy="476672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edu.rosminzdrav.ru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65" name="Номер слайда 64"/>
          <p:cNvSpPr>
            <a:spLocks noGrp="1"/>
          </p:cNvSpPr>
          <p:nvPr>
            <p:ph type="sldNum" sz="quarter" idx="12"/>
          </p:nvPr>
        </p:nvSpPr>
        <p:spPr>
          <a:xfrm>
            <a:off x="8557592" y="6492875"/>
            <a:ext cx="586408" cy="365125"/>
          </a:xfrm>
        </p:spPr>
        <p:txBody>
          <a:bodyPr/>
          <a:lstStyle/>
          <a:p>
            <a:pPr>
              <a:defRPr/>
            </a:pPr>
            <a:fld id="{9FB529F0-CFB5-4488-81D0-0CCFD6778A02}" type="slidenum">
              <a:rPr lang="ru-RU" sz="1400" b="1" smtClean="0">
                <a:solidFill>
                  <a:schemeClr val="tx1"/>
                </a:solidFill>
              </a:rPr>
              <a:pPr>
                <a:defRPr/>
              </a:pPr>
              <a:t>24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grpSp>
        <p:nvGrpSpPr>
          <p:cNvPr id="2" name="Группа 31"/>
          <p:cNvGrpSpPr>
            <a:grpSpLocks/>
          </p:cNvGrpSpPr>
          <p:nvPr/>
        </p:nvGrpSpPr>
        <p:grpSpPr bwMode="auto">
          <a:xfrm>
            <a:off x="0" y="476672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38" name="Прямоугольник 37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46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0"/>
            <a:ext cx="399235" cy="397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Прямоугольник 4"/>
          <p:cNvSpPr>
            <a:spLocks noChangeArrowheads="1"/>
          </p:cNvSpPr>
          <p:nvPr/>
        </p:nvSpPr>
        <p:spPr bwMode="auto">
          <a:xfrm>
            <a:off x="0" y="6597352"/>
            <a:ext cx="1907704" cy="26064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r>
              <a:rPr lang="ru-RU" sz="1200" dirty="0" smtClean="0"/>
              <a:t>© Семенова Т.В., 2016</a:t>
            </a:r>
            <a:endParaRPr lang="ru-RU" sz="1200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5536" y="620688"/>
            <a:ext cx="8300756" cy="5877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807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0"/>
            <a:ext cx="9144000" cy="83661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4000" y="285750"/>
            <a:ext cx="8602663" cy="463550"/>
          </a:xfrm>
        </p:spPr>
        <p:txBody>
          <a:bodyPr>
            <a:normAutofit fontScale="90000"/>
          </a:bodyPr>
          <a:lstStyle/>
          <a:p>
            <a:pPr fontAlgn="ctr"/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КОНТЕНТ </a:t>
            </a:r>
            <a:r>
              <a:rPr lang="en-US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Cambria Math" pitchFamily="18" charset="0"/>
                <a:cs typeface="Cambria Math" pitchFamily="18" charset="0"/>
              </a:rPr>
              <a:t>EDU.ROSMINZDRAV.RU</a:t>
            </a: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Cambria Math" pitchFamily="18" charset="0"/>
                <a:cs typeface="Cambria Math" pitchFamily="18" charset="0"/>
              </a:rPr>
              <a:t>, В РАЗРАБОТКЕ (РЕАЛИЗАЦИИ) КОТОРОГО УЧАСТВУЮТ ПРОФЕССИОНАЛЬНЫЕ НЕКОММЕРЧЕСКИЕ ОРГАНИЗАЦИИ </a:t>
            </a:r>
            <a:r>
              <a:rPr lang="ru-RU" altLang="ru-RU" sz="2000" dirty="0" smtClean="0">
                <a:solidFill>
                  <a:srgbClr val="0066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Palatino Linotype" pitchFamily="18" charset="0"/>
                <a:ea typeface="Cambria Math" pitchFamily="18" charset="0"/>
                <a:cs typeface="Cambria Math" pitchFamily="18" charset="0"/>
              </a:rPr>
              <a:t/>
            </a:r>
            <a:br>
              <a:rPr lang="ru-RU" altLang="ru-RU" sz="2000" dirty="0" smtClean="0">
                <a:solidFill>
                  <a:srgbClr val="0066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Palatino Linotype" pitchFamily="18" charset="0"/>
                <a:ea typeface="Cambria Math" pitchFamily="18" charset="0"/>
                <a:cs typeface="Cambria Math" pitchFamily="18" charset="0"/>
              </a:rPr>
            </a:br>
            <a:endParaRPr lang="ru-RU" sz="2000" dirty="0" smtClean="0">
              <a:solidFill>
                <a:srgbClr val="00666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Palatino Linotype" pitchFamily="18" charset="0"/>
            </a:endParaRPr>
          </a:p>
        </p:txBody>
      </p:sp>
      <p:sp>
        <p:nvSpPr>
          <p:cNvPr id="17412" name="AutoShape 6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7413" name="AutoShape 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7414" name="AutoShape 1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90563" y="1635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20675" y="1341438"/>
          <a:ext cx="8548316" cy="392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19105"/>
                <a:gridCol w="2929211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Мероприятие</a:t>
                      </a:r>
                      <a:endParaRPr lang="ru-RU" sz="16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16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+mn-lt"/>
                          <a:cs typeface="Arial" panose="020B0604020202020204" pitchFamily="34" charset="0"/>
                        </a:rPr>
                        <a:t>Очные образовательные мероприятия </a:t>
                      </a:r>
                      <a:endParaRPr lang="ru-R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+mn-lt"/>
                          <a:cs typeface="Arial" panose="020B0604020202020204" pitchFamily="34" charset="0"/>
                        </a:rPr>
                        <a:t>2425</a:t>
                      </a:r>
                      <a:endParaRPr lang="ru-R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+mn-lt"/>
                          <a:cs typeface="Arial" panose="020B0604020202020204" pitchFamily="34" charset="0"/>
                        </a:rPr>
                        <a:t>- из них по годам</a:t>
                      </a:r>
                      <a:endParaRPr lang="ru-RU" sz="16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+mn-lt"/>
                          <a:cs typeface="Arial" panose="020B0604020202020204" pitchFamily="34" charset="0"/>
                        </a:rPr>
                        <a:t>   - 2014</a:t>
                      </a:r>
                      <a:endParaRPr lang="ru-RU" sz="16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+mn-lt"/>
                          <a:cs typeface="Arial" panose="020B0604020202020204" pitchFamily="34" charset="0"/>
                        </a:rPr>
                        <a:t>225</a:t>
                      </a:r>
                      <a:endParaRPr lang="ru-RU" sz="16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+mn-lt"/>
                          <a:cs typeface="Arial" panose="020B0604020202020204" pitchFamily="34" charset="0"/>
                        </a:rPr>
                        <a:t>   - 2015</a:t>
                      </a:r>
                      <a:endParaRPr lang="ru-RU" sz="16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+mn-lt"/>
                          <a:cs typeface="Arial" panose="020B0604020202020204" pitchFamily="34" charset="0"/>
                        </a:rPr>
                        <a:t>441</a:t>
                      </a:r>
                      <a:endParaRPr lang="ru-RU" sz="16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+mn-lt"/>
                          <a:cs typeface="Arial" panose="020B0604020202020204" pitchFamily="34" charset="0"/>
                        </a:rPr>
                        <a:t>   - 2016 (включая запланированные)</a:t>
                      </a:r>
                      <a:endParaRPr lang="ru-RU" sz="16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+mn-lt"/>
                          <a:cs typeface="Arial" panose="020B0604020202020204" pitchFamily="34" charset="0"/>
                        </a:rPr>
                        <a:t>1748</a:t>
                      </a:r>
                      <a:endParaRPr lang="ru-RU" sz="16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+mn-lt"/>
                          <a:cs typeface="Arial" panose="020B0604020202020204" pitchFamily="34" charset="0"/>
                        </a:rPr>
                        <a:t>Интерактивные</a:t>
                      </a:r>
                      <a:r>
                        <a:rPr lang="ru-RU" sz="1600" b="1" baseline="0" dirty="0" smtClean="0">
                          <a:latin typeface="+mn-lt"/>
                          <a:cs typeface="Arial" panose="020B0604020202020204" pitchFamily="34" charset="0"/>
                        </a:rPr>
                        <a:t> дистанционные образовательные модули</a:t>
                      </a:r>
                      <a:endParaRPr lang="ru-R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+mn-lt"/>
                          <a:cs typeface="Arial" panose="020B0604020202020204" pitchFamily="34" charset="0"/>
                        </a:rPr>
                        <a:t>443</a:t>
                      </a:r>
                      <a:endParaRPr lang="ru-RU" sz="16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i="1" dirty="0" smtClean="0">
                          <a:latin typeface="+mn-lt"/>
                          <a:cs typeface="Arial" panose="020B0604020202020204" pitchFamily="34" charset="0"/>
                        </a:rPr>
                        <a:t>- из них электронные образовательные курсы по клиническим</a:t>
                      </a:r>
                      <a:r>
                        <a:rPr lang="ru-RU" sz="1600" i="1" baseline="0" dirty="0" smtClean="0">
                          <a:latin typeface="+mn-lt"/>
                          <a:cs typeface="Arial" panose="020B0604020202020204" pitchFamily="34" charset="0"/>
                        </a:rPr>
                        <a:t> рекомендациям (ЭОК-КР)</a:t>
                      </a:r>
                      <a:endParaRPr lang="ru-RU" sz="1600" i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 dirty="0" smtClean="0">
                          <a:latin typeface="+mn-lt"/>
                          <a:cs typeface="Arial" panose="020B0604020202020204" pitchFamily="34" charset="0"/>
                        </a:rPr>
                        <a:t>78</a:t>
                      </a:r>
                      <a:endParaRPr lang="ru-RU" sz="1600" i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80000" marT="108000" marB="108000">
                    <a:lnL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1" name="Группа 31"/>
          <p:cNvGrpSpPr>
            <a:grpSpLocks/>
          </p:cNvGrpSpPr>
          <p:nvPr/>
        </p:nvGrpSpPr>
        <p:grpSpPr bwMode="auto">
          <a:xfrm>
            <a:off x="0" y="692696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12" name="Прямоугольник 11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18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4000" cy="67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0"/>
            <a:ext cx="9144000" cy="83661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4000" y="187325"/>
            <a:ext cx="8602663" cy="46355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РЕАЛИЗАЦИЯ ОЧНЫХ ОБРАЗОВАТЕЛЬНЫХ МЕРОПРИЯТИЙ</a:t>
            </a:r>
          </a:p>
        </p:txBody>
      </p:sp>
      <p:sp>
        <p:nvSpPr>
          <p:cNvPr id="18436" name="AutoShape 6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8437" name="AutoShape 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876256" y="332656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8438" name="AutoShape 1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90563" y="1635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-15875" y="831850"/>
            <a:ext cx="9144000" cy="0"/>
          </a:xfrm>
          <a:prstGeom prst="line">
            <a:avLst/>
          </a:prstGeom>
          <a:ln w="38100">
            <a:solidFill>
              <a:srgbClr val="738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520700" y="1341438"/>
          <a:ext cx="8083748" cy="4681920"/>
        </p:xfrm>
        <a:graphic>
          <a:graphicData uri="http://schemas.openxmlformats.org/drawingml/2006/table">
            <a:tbl>
              <a:tblPr/>
              <a:tblGrid>
                <a:gridCol w="6304037"/>
                <a:gridCol w="1779711"/>
              </a:tblGrid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сего с 2014 года (одно мероприятие может относится к нескольким специальностям)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42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- из них по организациям,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реализующим более 100 мероприятий: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бщероссийская общественная организация «Российское кардиологическое общество»</a:t>
                      </a:r>
                    </a:p>
                  </a:txBody>
                  <a:tcPr marL="180000" marR="108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24</a:t>
                      </a:r>
                    </a:p>
                  </a:txBody>
                  <a:tcPr marL="180000" marR="108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бщероссийская общественная организация «Российское научное медицинское общество терапевтов»</a:t>
                      </a:r>
                    </a:p>
                  </a:txBody>
                  <a:tcPr marL="180000" marR="108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21</a:t>
                      </a:r>
                    </a:p>
                  </a:txBody>
                  <a:tcPr marL="180000" marR="108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втономная некоммерческая организация «Национальное Интернет Общество специалистов по внутренним болезням»</a:t>
                      </a:r>
                    </a:p>
                  </a:txBody>
                  <a:tcPr marL="180000" marR="108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4</a:t>
                      </a:r>
                    </a:p>
                  </a:txBody>
                  <a:tcPr marL="180000" marR="108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ссоциация общественных объединений «Стоматологическая Ассоциация России»</a:t>
                      </a:r>
                    </a:p>
                  </a:txBody>
                  <a:tcPr marL="180000" marR="108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0</a:t>
                      </a:r>
                    </a:p>
                  </a:txBody>
                  <a:tcPr marL="180000" marR="108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екоммерческое партнерство «Московское общество акушеров-гинекологов»</a:t>
                      </a:r>
                    </a:p>
                  </a:txBody>
                  <a:tcPr marL="180000" marR="108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35</a:t>
                      </a:r>
                    </a:p>
                  </a:txBody>
                  <a:tcPr marL="180000" marR="108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11" name="Группа 31"/>
          <p:cNvGrpSpPr>
            <a:grpSpLocks/>
          </p:cNvGrpSpPr>
          <p:nvPr/>
        </p:nvGrpSpPr>
        <p:grpSpPr bwMode="auto">
          <a:xfrm>
            <a:off x="0" y="692696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12" name="Прямоугольник 11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18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4000" cy="67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0"/>
            <a:ext cx="9144000" cy="83661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4000" y="187325"/>
            <a:ext cx="8602663" cy="46355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РАЗРАБОТКА ИНТЕРАКТИВНЫХ ДИСТАНЦИОННЫХ МОДУЛЕЙ</a:t>
            </a:r>
          </a:p>
        </p:txBody>
      </p:sp>
      <p:sp>
        <p:nvSpPr>
          <p:cNvPr id="19460" name="AutoShape 6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9461" name="AutoShape 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9462" name="AutoShape 1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90563" y="1635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-15875" y="831850"/>
            <a:ext cx="9144000" cy="0"/>
          </a:xfrm>
          <a:prstGeom prst="line">
            <a:avLst/>
          </a:prstGeom>
          <a:ln w="38100">
            <a:solidFill>
              <a:srgbClr val="738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520700" y="1628775"/>
          <a:ext cx="8083748" cy="4077600"/>
        </p:xfrm>
        <a:graphic>
          <a:graphicData uri="http://schemas.openxmlformats.org/drawingml/2006/table">
            <a:tbl>
              <a:tblPr/>
              <a:tblGrid>
                <a:gridCol w="6304037"/>
                <a:gridCol w="1779711"/>
              </a:tblGrid>
              <a:tr h="25870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сего, включая ЭОК-КР (один модуль может относится к нескольким специальностям)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9525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4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5870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з них наибольшее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количество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о специальностям: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9525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70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ерапия</a:t>
                      </a: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870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бщая врачебная практика (семейная медицина)</a:t>
                      </a: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870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едиатрия</a:t>
                      </a: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870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кушерство и гинекология</a:t>
                      </a: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870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ардиология</a:t>
                      </a: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870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корая медицинская помощь</a:t>
                      </a: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870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з них по стоматологии общей практики 12, по фармации - 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9525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9525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1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4000" cy="67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" name="Группа 31"/>
          <p:cNvGrpSpPr>
            <a:grpSpLocks/>
          </p:cNvGrpSpPr>
          <p:nvPr/>
        </p:nvGrpSpPr>
        <p:grpSpPr bwMode="auto">
          <a:xfrm>
            <a:off x="0" y="692696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13" name="Прямоугольник 12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0"/>
            <a:ext cx="9144000" cy="83661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4000" y="187325"/>
            <a:ext cx="8602663" cy="46355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18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ОБРАЗОВАТЕЛЬНЫЕ МЕРОПРИЯТИЯ </a:t>
            </a:r>
            <a:r>
              <a:rPr lang="en-US" altLang="ru-RU" sz="18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Cambria Math" pitchFamily="18" charset="0"/>
                <a:cs typeface="Cambria Math" pitchFamily="18" charset="0"/>
              </a:rPr>
              <a:t>EDU.ROSMINZDRAV.RU</a:t>
            </a:r>
            <a:r>
              <a:rPr lang="ru-RU" altLang="ru-RU" sz="1800" b="1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Cambria Math" pitchFamily="18" charset="0"/>
                <a:cs typeface="Cambria Math" pitchFamily="18" charset="0"/>
              </a:rPr>
              <a:t>, ДЛЯ СПЕЦИАЛИСТОВ, ВСТУПАЮЩИХ В НЕПРЕРЫВНОЕ ОБРАЗОВАНИЕ С ОКТЯБРЯ 2016 ГОДА</a:t>
            </a:r>
            <a:endParaRPr lang="ru-RU" altLang="ru-RU" sz="1800" b="1" dirty="0" smtClean="0">
              <a:solidFill>
                <a:schemeClr val="tx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20484" name="AutoShape 6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20485" name="AutoShape 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20486" name="AutoShape 1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90563" y="1635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-15875" y="831850"/>
            <a:ext cx="9144000" cy="0"/>
          </a:xfrm>
          <a:prstGeom prst="line">
            <a:avLst/>
          </a:prstGeom>
          <a:ln w="38100">
            <a:solidFill>
              <a:srgbClr val="738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534988" y="1557338"/>
          <a:ext cx="7931348" cy="4248470"/>
        </p:xfrm>
        <a:graphic>
          <a:graphicData uri="http://schemas.openxmlformats.org/drawingml/2006/table">
            <a:tbl>
              <a:tblPr/>
              <a:tblGrid>
                <a:gridCol w="6068684"/>
                <a:gridCol w="1862664"/>
              </a:tblGrid>
              <a:tr h="24991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пециальность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кушерство и гинекология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ллергология и иммунология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Гастроэнтерология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ерматовенеролог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нфекционные болезни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ардиолог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лопроктолог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сметология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еврология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бщая врачебная практика (семейная медицина)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нкология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едиатрия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корая медицинская помощь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ерапия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Хирургия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99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Эндокринология</a:t>
                      </a:r>
                    </a:p>
                  </a:txBody>
                  <a:tcPr marL="180000" marR="10800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180000" marR="10800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 bwMode="auto">
          <a:xfrm>
            <a:off x="520700" y="909638"/>
            <a:ext cx="7969250" cy="6064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tIns="36000" bIns="36000" anchor="ctr"/>
          <a:lstStyle/>
          <a:p>
            <a:pPr algn="ctr" eaLnBrk="1" hangingPunct="1">
              <a:defRPr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 16 специальностей, по которым разработаны </a:t>
            </a:r>
          </a:p>
          <a:p>
            <a:pPr algn="ctr" eaLnBrk="1" hangingPunct="1">
              <a:defRPr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более 14 интерактивных образовательных модулей, включая ЭОК-КР</a:t>
            </a: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496888" y="5949950"/>
            <a:ext cx="7969250" cy="6064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tIns="36000" bIns="36000"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 По 30 специальностям запланированы очные образовательные мероприятия </a:t>
            </a:r>
          </a:p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charset="0"/>
              </a:rPr>
              <a:t>до окончания 2016 года, из них по стоматологии общей практики 7, по фармации - 0</a:t>
            </a:r>
          </a:p>
        </p:txBody>
      </p:sp>
      <p:grpSp>
        <p:nvGrpSpPr>
          <p:cNvPr id="15" name="Группа 31"/>
          <p:cNvGrpSpPr>
            <a:grpSpLocks/>
          </p:cNvGrpSpPr>
          <p:nvPr/>
        </p:nvGrpSpPr>
        <p:grpSpPr bwMode="auto">
          <a:xfrm>
            <a:off x="0" y="692696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16" name="Прямоугольник 15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22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4000" cy="67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0"/>
            <a:ext cx="9144000" cy="83661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4000" y="187325"/>
            <a:ext cx="8602663" cy="463550"/>
          </a:xfrm>
          <a:noFill/>
        </p:spPr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ДОПУСК К ПРОФЕССИОНАЛЬНОЙ ДЕЯТЕЛЬНОСТИ ЧЕРЕЗ СЕРТИФИКАЦИЮ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3489325" y="1063625"/>
            <a:ext cx="2160588" cy="609600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600" dirty="0" err="1">
                <a:solidFill>
                  <a:schemeClr val="tx2">
                    <a:lumMod val="75000"/>
                  </a:schemeClr>
                </a:solidFill>
              </a:rPr>
              <a:t>Специалитет</a:t>
            </a:r>
            <a:endParaRPr lang="ru-RU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3487738" y="1982788"/>
            <a:ext cx="2160587" cy="576262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</a:rPr>
              <a:t>Интернатура, </a:t>
            </a:r>
          </a:p>
          <a:p>
            <a:pPr algn="ctr" eaLnBrk="1" hangingPunct="1">
              <a:defRPr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</a:rPr>
              <a:t>ординатура 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3462338" y="2828925"/>
            <a:ext cx="2160587" cy="5619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Сертификация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6708775" y="3890963"/>
            <a:ext cx="2159000" cy="58261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Сертификация</a:t>
            </a: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265113" y="3911600"/>
            <a:ext cx="5354637" cy="574675"/>
          </a:xfrm>
          <a:prstGeom prst="rect">
            <a:avLst/>
          </a:prstGeom>
          <a:solidFill>
            <a:srgbClr val="92D050">
              <a:alpha val="29000"/>
            </a:srgb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Профессиональная деятельность в течение 5 лет</a:t>
            </a:r>
          </a:p>
        </p:txBody>
      </p:sp>
      <p:sp>
        <p:nvSpPr>
          <p:cNvPr id="11" name="Прямоугольник 10"/>
          <p:cNvSpPr>
            <a:spLocks noChangeArrowheads="1"/>
          </p:cNvSpPr>
          <p:nvPr/>
        </p:nvSpPr>
        <p:spPr bwMode="auto">
          <a:xfrm>
            <a:off x="251520" y="4581128"/>
            <a:ext cx="2211388" cy="568325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600">
                <a:solidFill>
                  <a:schemeClr val="tx2">
                    <a:lumMod val="75000"/>
                  </a:schemeClr>
                </a:solidFill>
              </a:rPr>
              <a:t>Повышение </a:t>
            </a:r>
          </a:p>
          <a:p>
            <a:pPr algn="ctr" eaLnBrk="1" hangingPunct="1">
              <a:defRPr/>
            </a:pPr>
            <a:r>
              <a:rPr lang="ru-RU" sz="1600">
                <a:solidFill>
                  <a:schemeClr val="tx2">
                    <a:lumMod val="75000"/>
                  </a:schemeClr>
                </a:solidFill>
              </a:rPr>
              <a:t>квалификации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269875" y="5624513"/>
            <a:ext cx="2160588" cy="58261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Сертификация</a:t>
            </a: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6621463" y="1982788"/>
            <a:ext cx="2160587" cy="609600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</a:rPr>
              <a:t>Профессиональная </a:t>
            </a:r>
          </a:p>
          <a:p>
            <a:pPr algn="ctr" eaLnBrk="1" hangingPunct="1">
              <a:defRPr/>
            </a:pPr>
            <a:r>
              <a:rPr lang="ru-RU" sz="1600" dirty="0">
                <a:solidFill>
                  <a:schemeClr val="tx2">
                    <a:lumMod val="75000"/>
                  </a:schemeClr>
                </a:solidFill>
              </a:rPr>
              <a:t>переподготовка</a:t>
            </a: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3516313" y="5634038"/>
            <a:ext cx="5354637" cy="573087"/>
          </a:xfrm>
          <a:prstGeom prst="rect">
            <a:avLst/>
          </a:prstGeom>
          <a:solidFill>
            <a:srgbClr val="92D050">
              <a:alpha val="29000"/>
            </a:srgb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Профессиональная деятельность в течение 5 лет</a:t>
            </a:r>
          </a:p>
        </p:txBody>
      </p:sp>
      <p:sp>
        <p:nvSpPr>
          <p:cNvPr id="15" name="Скругленный прямоугольник 26"/>
          <p:cNvSpPr>
            <a:spLocks noChangeArrowheads="1"/>
          </p:cNvSpPr>
          <p:nvPr/>
        </p:nvSpPr>
        <p:spPr bwMode="auto">
          <a:xfrm>
            <a:off x="6659563" y="5053013"/>
            <a:ext cx="2211387" cy="568325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600">
                <a:solidFill>
                  <a:schemeClr val="tx2">
                    <a:lumMod val="75000"/>
                  </a:schemeClr>
                </a:solidFill>
              </a:rPr>
              <a:t>Повышение </a:t>
            </a:r>
          </a:p>
          <a:p>
            <a:pPr algn="ctr" eaLnBrk="1" hangingPunct="1">
              <a:defRPr/>
            </a:pPr>
            <a:r>
              <a:rPr lang="ru-RU" sz="1600">
                <a:solidFill>
                  <a:schemeClr val="tx2">
                    <a:lumMod val="75000"/>
                  </a:schemeClr>
                </a:solidFill>
              </a:rPr>
              <a:t>квалификации</a:t>
            </a:r>
          </a:p>
        </p:txBody>
      </p:sp>
      <p:sp>
        <p:nvSpPr>
          <p:cNvPr id="16" name="Стрелка вправо 15"/>
          <p:cNvSpPr/>
          <p:nvPr/>
        </p:nvSpPr>
        <p:spPr bwMode="auto">
          <a:xfrm rot="5400000">
            <a:off x="4443413" y="2635250"/>
            <a:ext cx="228600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6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 bwMode="auto">
          <a:xfrm rot="5400000">
            <a:off x="4341019" y="3567906"/>
            <a:ext cx="428625" cy="169863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6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8" name="Стрелка вправо 17"/>
          <p:cNvSpPr/>
          <p:nvPr/>
        </p:nvSpPr>
        <p:spPr bwMode="auto">
          <a:xfrm rot="5400000">
            <a:off x="1029294" y="5313164"/>
            <a:ext cx="484585" cy="157163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6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9" name="Стрелка вправо 18"/>
          <p:cNvSpPr/>
          <p:nvPr/>
        </p:nvSpPr>
        <p:spPr bwMode="auto">
          <a:xfrm rot="16200000">
            <a:off x="7504112" y="4684713"/>
            <a:ext cx="555625" cy="158750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6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0" name="Стрелка вправо 19"/>
          <p:cNvSpPr/>
          <p:nvPr/>
        </p:nvSpPr>
        <p:spPr bwMode="auto">
          <a:xfrm>
            <a:off x="5772150" y="2203450"/>
            <a:ext cx="774700" cy="134938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6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1" name="Стрелка вправо 20"/>
          <p:cNvSpPr/>
          <p:nvPr/>
        </p:nvSpPr>
        <p:spPr bwMode="auto">
          <a:xfrm rot="10800000">
            <a:off x="5640388" y="4119563"/>
            <a:ext cx="1038225" cy="158750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6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2" name="Стрелка вправо 21"/>
          <p:cNvSpPr/>
          <p:nvPr/>
        </p:nvSpPr>
        <p:spPr bwMode="auto">
          <a:xfrm>
            <a:off x="2478088" y="5840413"/>
            <a:ext cx="1038225" cy="158750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6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17" name="AutoShape 6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18" name="AutoShape 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19" name="AutoShape 1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90563" y="1635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7" name="Стрелка вправо 26"/>
          <p:cNvSpPr/>
          <p:nvPr/>
        </p:nvSpPr>
        <p:spPr bwMode="auto">
          <a:xfrm rot="5400000">
            <a:off x="4443413" y="1755775"/>
            <a:ext cx="228600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6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8" name="Стрелка вправо 27"/>
          <p:cNvSpPr/>
          <p:nvPr/>
        </p:nvSpPr>
        <p:spPr bwMode="auto">
          <a:xfrm rot="9072324" flipV="1">
            <a:off x="5688013" y="2630488"/>
            <a:ext cx="865187" cy="152400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6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22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543925" y="6356350"/>
            <a:ext cx="561975" cy="365125"/>
          </a:xfrm>
          <a:noFill/>
        </p:spPr>
        <p:txBody>
          <a:bodyPr/>
          <a:lstStyle/>
          <a:p>
            <a:fld id="{873A40BD-A0F6-4D9C-BB66-C92B5235372B}" type="slidenum">
              <a:rPr lang="en-GB" altLang="ru-RU" sz="1600">
                <a:solidFill>
                  <a:schemeClr val="tx2">
                    <a:lumMod val="75000"/>
                  </a:schemeClr>
                </a:solidFill>
              </a:rPr>
              <a:pPr/>
              <a:t>3</a:t>
            </a:fld>
            <a:endParaRPr lang="en-GB" altLang="ru-RU" sz="160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0" y="836613"/>
            <a:ext cx="9144000" cy="0"/>
          </a:xfrm>
          <a:prstGeom prst="line">
            <a:avLst/>
          </a:prstGeom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0" y="836613"/>
            <a:ext cx="9144000" cy="0"/>
          </a:xfrm>
          <a:prstGeom prst="line">
            <a:avLst/>
          </a:prstGeom>
          <a:ln w="38100">
            <a:solidFill>
              <a:srgbClr val="7385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1"/>
          <p:cNvGrpSpPr>
            <a:grpSpLocks/>
          </p:cNvGrpSpPr>
          <p:nvPr/>
        </p:nvGrpSpPr>
        <p:grpSpPr bwMode="auto">
          <a:xfrm>
            <a:off x="-20638" y="692696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32" name="Прямоугольник 31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  <p:pic>
        <p:nvPicPr>
          <p:cNvPr id="38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2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5409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0"/>
            <a:ext cx="9144000" cy="83661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4000" y="187325"/>
            <a:ext cx="8602663" cy="463550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ДОПУСК К ПРОФЕССИОНАЛЬНОЙ ДЕЯТЕЛЬНОСТИ</a:t>
            </a:r>
            <a:b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</a:br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 ЧЕРЕЗ ПРОЦЕДУРУ АККРЕДИТАЦИИ</a:t>
            </a:r>
          </a:p>
        </p:txBody>
      </p:sp>
      <p:sp>
        <p:nvSpPr>
          <p:cNvPr id="5124" name="AutoShape 6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125" name="AutoShape 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126" name="AutoShape 18" descr="http://ru.stockfresh.com/thumbs/anatolym/225603_3d-%D0%BB%D1%8E%D0%B4%D0%B8-%D0%B2%D0%B5%D1%80%D0%B5%D0%B2%D0%BA%D1%83-%D0%BF%D1%80%D1%8B%D0%B6%D0%BA%D0%B8-%D0%B1%D0%B5%D0%BB%D1%8B%D0%B9-%D1%84%D0%BE%D0%BD.jpg"/>
          <p:cNvSpPr>
            <a:spLocks noChangeAspect="1" noChangeArrowheads="1"/>
          </p:cNvSpPr>
          <p:nvPr/>
        </p:nvSpPr>
        <p:spPr bwMode="auto">
          <a:xfrm>
            <a:off x="690563" y="1635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6" name="Стрелка вправо 55"/>
          <p:cNvSpPr/>
          <p:nvPr/>
        </p:nvSpPr>
        <p:spPr bwMode="auto">
          <a:xfrm rot="5400000">
            <a:off x="7198520" y="2637631"/>
            <a:ext cx="1947862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236538" y="1241425"/>
            <a:ext cx="2895600" cy="296863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400" dirty="0" err="1">
                <a:solidFill>
                  <a:schemeClr val="tx2">
                    <a:lumMod val="75000"/>
                  </a:schemeClr>
                </a:solidFill>
              </a:rPr>
              <a:t>Специалитет</a:t>
            </a:r>
            <a:endParaRPr lang="ru-RU" sz="1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 bwMode="auto">
          <a:xfrm>
            <a:off x="179512" y="1916832"/>
            <a:ext cx="2895600" cy="288925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Ординатура </a:t>
            </a:r>
          </a:p>
        </p:txBody>
      </p:sp>
      <p:sp>
        <p:nvSpPr>
          <p:cNvPr id="5131" name="Скругленный прямоугольник 58"/>
          <p:cNvSpPr>
            <a:spLocks noChangeArrowheads="1"/>
          </p:cNvSpPr>
          <p:nvPr/>
        </p:nvSpPr>
        <p:spPr bwMode="auto">
          <a:xfrm>
            <a:off x="236538" y="2735263"/>
            <a:ext cx="2895600" cy="67786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Первичная специализированная аккредитация</a:t>
            </a:r>
          </a:p>
        </p:txBody>
      </p:sp>
      <p:sp>
        <p:nvSpPr>
          <p:cNvPr id="5132" name="Скругленный прямоугольник 59"/>
          <p:cNvSpPr>
            <a:spLocks noChangeArrowheads="1"/>
          </p:cNvSpPr>
          <p:nvPr/>
        </p:nvSpPr>
        <p:spPr bwMode="auto">
          <a:xfrm>
            <a:off x="236538" y="3781425"/>
            <a:ext cx="8602662" cy="312738"/>
          </a:xfrm>
          <a:prstGeom prst="rect">
            <a:avLst/>
          </a:prstGeom>
          <a:solidFill>
            <a:srgbClr val="92D050">
              <a:alpha val="29000"/>
            </a:srgb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 eaLnBrk="1" hangingPunct="1"/>
            <a:r>
              <a:rPr lang="ru-RU" altLang="ru-RU" sz="1400" dirty="0">
                <a:solidFill>
                  <a:schemeClr val="tx2">
                    <a:lumMod val="75000"/>
                  </a:schemeClr>
                </a:solidFill>
              </a:rPr>
              <a:t>Профессиональная деятельность в течение 5 лет</a:t>
            </a:r>
          </a:p>
        </p:txBody>
      </p:sp>
      <p:sp>
        <p:nvSpPr>
          <p:cNvPr id="61" name="Прямоугольник 60"/>
          <p:cNvSpPr/>
          <p:nvPr/>
        </p:nvSpPr>
        <p:spPr bwMode="auto">
          <a:xfrm>
            <a:off x="5661595" y="2217737"/>
            <a:ext cx="2224088" cy="508000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Профессиональная </a:t>
            </a:r>
          </a:p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переподготовка</a:t>
            </a:r>
          </a:p>
        </p:txBody>
      </p:sp>
      <p:sp>
        <p:nvSpPr>
          <p:cNvPr id="64" name="Стрелка вправо 63"/>
          <p:cNvSpPr/>
          <p:nvPr/>
        </p:nvSpPr>
        <p:spPr bwMode="auto">
          <a:xfrm flipV="1">
            <a:off x="3255963" y="1328738"/>
            <a:ext cx="2352675" cy="122237"/>
          </a:xfrm>
          <a:prstGeom prst="rightArrow">
            <a:avLst>
              <a:gd name="adj1" fmla="val 50000"/>
              <a:gd name="adj2" fmla="val 232887"/>
            </a:avLst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137" name="Скругленный прямоугольник 64"/>
          <p:cNvSpPr>
            <a:spLocks noChangeArrowheads="1"/>
          </p:cNvSpPr>
          <p:nvPr/>
        </p:nvSpPr>
        <p:spPr bwMode="auto">
          <a:xfrm>
            <a:off x="244475" y="6350000"/>
            <a:ext cx="8661400" cy="314325"/>
          </a:xfrm>
          <a:prstGeom prst="rect">
            <a:avLst/>
          </a:prstGeom>
          <a:solidFill>
            <a:srgbClr val="92D050">
              <a:alpha val="29000"/>
            </a:srgb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r>
              <a:rPr lang="ru-RU" altLang="ru-RU" sz="1400" dirty="0">
                <a:solidFill>
                  <a:schemeClr val="tx2">
                    <a:lumMod val="75000"/>
                  </a:schemeClr>
                </a:solidFill>
              </a:rPr>
              <a:t>Профессиональная деятельность в течение 5 лет</a:t>
            </a:r>
          </a:p>
        </p:txBody>
      </p:sp>
      <p:sp>
        <p:nvSpPr>
          <p:cNvPr id="66" name="Стрелка вправо 65"/>
          <p:cNvSpPr/>
          <p:nvPr/>
        </p:nvSpPr>
        <p:spPr bwMode="auto">
          <a:xfrm rot="10244917">
            <a:off x="3227388" y="1776413"/>
            <a:ext cx="2408237" cy="136525"/>
          </a:xfrm>
          <a:prstGeom prst="rightArrow">
            <a:avLst>
              <a:gd name="adj1" fmla="val 50000"/>
              <a:gd name="adj2" fmla="val 353803"/>
            </a:avLst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139" name="Скругленный прямоугольник 66"/>
          <p:cNvSpPr>
            <a:spLocks noChangeArrowheads="1"/>
          </p:cNvSpPr>
          <p:nvPr/>
        </p:nvSpPr>
        <p:spPr bwMode="auto">
          <a:xfrm>
            <a:off x="236538" y="4835525"/>
            <a:ext cx="2895600" cy="5762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Периодическая аккредитация</a:t>
            </a:r>
          </a:p>
        </p:txBody>
      </p:sp>
      <p:sp>
        <p:nvSpPr>
          <p:cNvPr id="5140" name="Скругленный прямоугольник 67"/>
          <p:cNvSpPr>
            <a:spLocks noChangeArrowheads="1"/>
          </p:cNvSpPr>
          <p:nvPr/>
        </p:nvSpPr>
        <p:spPr bwMode="auto">
          <a:xfrm>
            <a:off x="6011863" y="4835525"/>
            <a:ext cx="2873375" cy="5762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Периодическая аккредитация</a:t>
            </a:r>
          </a:p>
        </p:txBody>
      </p:sp>
      <p:sp>
        <p:nvSpPr>
          <p:cNvPr id="5142" name="Скругленный прямоугольник 69"/>
          <p:cNvSpPr>
            <a:spLocks noChangeArrowheads="1"/>
          </p:cNvSpPr>
          <p:nvPr/>
        </p:nvSpPr>
        <p:spPr bwMode="auto">
          <a:xfrm>
            <a:off x="5705475" y="1143000"/>
            <a:ext cx="3179763" cy="48577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1">
                <a:lumMod val="75000"/>
              </a:schemeClr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 eaLnBrk="1" hangingPunct="1"/>
            <a:r>
              <a:rPr lang="ru-RU" altLang="ru-RU" sz="1400" b="1">
                <a:solidFill>
                  <a:schemeClr val="tx2">
                    <a:lumMod val="75000"/>
                  </a:schemeClr>
                </a:solidFill>
              </a:rPr>
              <a:t>Первичная аккредитация</a:t>
            </a:r>
          </a:p>
        </p:txBody>
      </p:sp>
      <p:sp>
        <p:nvSpPr>
          <p:cNvPr id="71" name="Стрелка вправо 70"/>
          <p:cNvSpPr/>
          <p:nvPr/>
        </p:nvSpPr>
        <p:spPr bwMode="auto">
          <a:xfrm rot="5400000">
            <a:off x="1554163" y="1643062"/>
            <a:ext cx="260350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2" name="Стрелка вправо 71"/>
          <p:cNvSpPr/>
          <p:nvPr/>
        </p:nvSpPr>
        <p:spPr bwMode="auto">
          <a:xfrm rot="5400000">
            <a:off x="1455738" y="2400300"/>
            <a:ext cx="457200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3" name="Стрелка вправо 72"/>
          <p:cNvSpPr/>
          <p:nvPr/>
        </p:nvSpPr>
        <p:spPr bwMode="auto">
          <a:xfrm rot="5400000">
            <a:off x="1564481" y="3521869"/>
            <a:ext cx="258763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4" name="Стрелка вправо 73"/>
          <p:cNvSpPr/>
          <p:nvPr/>
        </p:nvSpPr>
        <p:spPr bwMode="auto">
          <a:xfrm rot="5400000">
            <a:off x="7265988" y="4559300"/>
            <a:ext cx="339725" cy="1428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5" name="Стрелка вправо 74"/>
          <p:cNvSpPr/>
          <p:nvPr/>
        </p:nvSpPr>
        <p:spPr bwMode="auto">
          <a:xfrm rot="5400000" flipH="1" flipV="1">
            <a:off x="1488281" y="4533107"/>
            <a:ext cx="369887" cy="165100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6" name="Стрелка вправо 75"/>
          <p:cNvSpPr/>
          <p:nvPr/>
        </p:nvSpPr>
        <p:spPr bwMode="auto">
          <a:xfrm rot="10101964" flipV="1">
            <a:off x="3219899" y="2648882"/>
            <a:ext cx="2366912" cy="120371"/>
          </a:xfrm>
          <a:prstGeom prst="rightArrow">
            <a:avLst>
              <a:gd name="adj1" fmla="val 50000"/>
              <a:gd name="adj2" fmla="val 260656"/>
            </a:avLst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7" name="Стрелка вправо 76"/>
          <p:cNvSpPr/>
          <p:nvPr/>
        </p:nvSpPr>
        <p:spPr bwMode="auto">
          <a:xfrm rot="5400000">
            <a:off x="7160419" y="5680869"/>
            <a:ext cx="563563" cy="155575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8" name="Стрелка вправо 77"/>
          <p:cNvSpPr/>
          <p:nvPr/>
        </p:nvSpPr>
        <p:spPr bwMode="auto">
          <a:xfrm rot="5400000" flipH="1" flipV="1">
            <a:off x="1408907" y="5628481"/>
            <a:ext cx="571500" cy="163513"/>
          </a:xfrm>
          <a:prstGeom prst="rightArrow">
            <a:avLst/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251520" y="4149080"/>
            <a:ext cx="8568952" cy="284163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Непрерывное медицинское (фармацевтическое) образование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277813" y="6026150"/>
            <a:ext cx="8629650" cy="284163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Непрерывное медицинское (фармацевтическое) образование</a:t>
            </a:r>
          </a:p>
        </p:txBody>
      </p:sp>
      <p:sp>
        <p:nvSpPr>
          <p:cNvPr id="5153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43925" y="6356350"/>
            <a:ext cx="561975" cy="365125"/>
          </a:xfrm>
          <a:noFill/>
        </p:spPr>
        <p:txBody>
          <a:bodyPr/>
          <a:lstStyle/>
          <a:p>
            <a:fld id="{64B8C5F2-86CD-488C-ACB9-0F4CFCF0749C}" type="slidenum">
              <a:rPr lang="en-GB" altLang="ru-RU">
                <a:solidFill>
                  <a:schemeClr val="tx2">
                    <a:lumMod val="75000"/>
                  </a:schemeClr>
                </a:solidFill>
              </a:rPr>
              <a:pPr/>
              <a:t>4</a:t>
            </a:fld>
            <a:endParaRPr lang="en-GB" altLang="ru-RU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6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2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" name="Группа 31"/>
          <p:cNvGrpSpPr>
            <a:grpSpLocks/>
          </p:cNvGrpSpPr>
          <p:nvPr/>
        </p:nvGrpSpPr>
        <p:grpSpPr bwMode="auto">
          <a:xfrm>
            <a:off x="-20638" y="692696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38" name="Прямоугольник 37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732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Стрелка вниз 46"/>
          <p:cNvSpPr/>
          <p:nvPr/>
        </p:nvSpPr>
        <p:spPr>
          <a:xfrm>
            <a:off x="1403648" y="3717032"/>
            <a:ext cx="1778019" cy="1152128"/>
          </a:xfrm>
          <a:prstGeom prst="downArrow">
            <a:avLst>
              <a:gd name="adj1" fmla="val 35757"/>
              <a:gd name="adj2" fmla="val 71778"/>
            </a:avLst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anchor="ctr"/>
          <a:lstStyle/>
          <a:p>
            <a:pPr algn="ctr">
              <a:lnSpc>
                <a:spcPts val="1600"/>
              </a:lnSpc>
            </a:pPr>
            <a:endParaRPr lang="ru-RU" sz="150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3" name="Выноска со стрелками влево/вправо 52"/>
          <p:cNvSpPr/>
          <p:nvPr/>
        </p:nvSpPr>
        <p:spPr>
          <a:xfrm>
            <a:off x="3779912" y="1772816"/>
            <a:ext cx="1584176" cy="1944216"/>
          </a:xfrm>
          <a:prstGeom prst="leftRightArrowCallout">
            <a:avLst>
              <a:gd name="adj1" fmla="val 25000"/>
              <a:gd name="adj2" fmla="val 23236"/>
              <a:gd name="adj3" fmla="val 25000"/>
              <a:gd name="adj4" fmla="val 16629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Пятиугольник 26"/>
          <p:cNvSpPr/>
          <p:nvPr/>
        </p:nvSpPr>
        <p:spPr>
          <a:xfrm rot="5400000">
            <a:off x="1511660" y="1448780"/>
            <a:ext cx="1728192" cy="2808312"/>
          </a:xfrm>
          <a:prstGeom prst="homePlate">
            <a:avLst>
              <a:gd name="adj" fmla="val 0"/>
            </a:avLst>
          </a:prstGeom>
          <a:noFill/>
          <a:ln w="3175">
            <a:solidFill>
              <a:schemeClr val="accent4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>
              <a:lnSpc>
                <a:spcPts val="1600"/>
              </a:lnSpc>
              <a:defRPr/>
            </a:pPr>
            <a:r>
              <a:rPr lang="ru-RU" sz="1500" dirty="0" smtClean="0">
                <a:solidFill>
                  <a:schemeClr val="tx1"/>
                </a:solidFill>
              </a:rPr>
              <a:t>Обучение по программам подготовки кадров высшей квалификации по программам ординатуры </a:t>
            </a:r>
            <a:r>
              <a:rPr lang="ru-RU" sz="1500" dirty="0">
                <a:solidFill>
                  <a:schemeClr val="tx1"/>
                </a:solidFill>
              </a:rPr>
              <a:t>в соответствии с федеральными государственными </a:t>
            </a:r>
            <a:r>
              <a:rPr lang="ru-RU" sz="1500" dirty="0" smtClean="0">
                <a:solidFill>
                  <a:schemeClr val="tx1"/>
                </a:solidFill>
              </a:rPr>
              <a:t> образовательными стандартами </a:t>
            </a:r>
            <a:r>
              <a:rPr lang="ru-RU" sz="1500" dirty="0">
                <a:solidFill>
                  <a:schemeClr val="tx1"/>
                </a:solidFill>
              </a:rPr>
              <a:t>(1-5 лет</a:t>
            </a:r>
            <a:r>
              <a:rPr lang="ru-RU" sz="1500" dirty="0" smtClean="0">
                <a:solidFill>
                  <a:schemeClr val="tx1"/>
                </a:solidFill>
              </a:rPr>
              <a:t>)</a:t>
            </a:r>
            <a:endParaRPr lang="ru-RU" sz="15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Пятиугольник 24"/>
          <p:cNvSpPr/>
          <p:nvPr/>
        </p:nvSpPr>
        <p:spPr>
          <a:xfrm rot="5400000">
            <a:off x="4139952" y="-2259632"/>
            <a:ext cx="864096" cy="7200800"/>
          </a:xfrm>
          <a:prstGeom prst="homePlate">
            <a:avLst>
              <a:gd name="adj" fmla="val 0"/>
            </a:avLst>
          </a:prstGeom>
          <a:noFill/>
          <a:ln w="19050"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>
              <a:lnSpc>
                <a:spcPts val="1600"/>
              </a:lnSpc>
              <a:defRPr/>
            </a:pPr>
            <a:endParaRPr lang="ru-RU" sz="15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lnSpc>
                <a:spcPts val="1600"/>
              </a:lnSpc>
              <a:defRPr/>
            </a:pPr>
            <a:endParaRPr lang="ru-RU" sz="15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lnSpc>
                <a:spcPts val="1600"/>
              </a:lnSpc>
              <a:defRPr/>
            </a:pPr>
            <a:r>
              <a:rPr lang="ru-RU" dirty="0">
                <a:solidFill>
                  <a:schemeClr val="tx1"/>
                </a:solidFill>
              </a:rPr>
              <a:t>Высшее образование в соответствии с федеральными  государственными образовательными стандартами 3-го поколения по специальностям группы «Здравоохранение» (5-6 лет)</a:t>
            </a:r>
          </a:p>
          <a:p>
            <a:pPr algn="ctr">
              <a:lnSpc>
                <a:spcPts val="1600"/>
              </a:lnSpc>
              <a:defRPr/>
            </a:pPr>
            <a:endParaRPr lang="ru-RU" sz="15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/>
            </a:pPr>
            <a:endParaRPr lang="ru-RU" sz="15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364088" y="1988840"/>
            <a:ext cx="2808312" cy="1728192"/>
          </a:xfrm>
          <a:prstGeom prst="rect">
            <a:avLst/>
          </a:prstGeom>
          <a:noFill/>
          <a:ln w="3175">
            <a:solidFill>
              <a:schemeClr val="accent4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anchor="ctr"/>
          <a:lstStyle/>
          <a:p>
            <a:pPr algn="ctr">
              <a:defRPr/>
            </a:pPr>
            <a:r>
              <a:rPr lang="ru-RU" sz="1500" dirty="0" smtClean="0">
                <a:solidFill>
                  <a:schemeClr val="tx1"/>
                </a:solidFill>
              </a:rPr>
              <a:t>-врач-стоматолог</a:t>
            </a:r>
          </a:p>
          <a:p>
            <a:pPr algn="ctr">
              <a:defRPr/>
            </a:pPr>
            <a:r>
              <a:rPr lang="ru-RU" sz="1500" dirty="0" smtClean="0">
                <a:solidFill>
                  <a:schemeClr val="tx1"/>
                </a:solidFill>
              </a:rPr>
              <a:t>-провизор</a:t>
            </a:r>
          </a:p>
          <a:p>
            <a:pPr algn="ctr">
              <a:defRPr/>
            </a:pPr>
            <a:r>
              <a:rPr lang="ru-RU" sz="1500" dirty="0" smtClean="0">
                <a:solidFill>
                  <a:schemeClr val="tx1"/>
                </a:solidFill>
              </a:rPr>
              <a:t>-врач терапевт участковый</a:t>
            </a:r>
          </a:p>
          <a:p>
            <a:pPr algn="ctr">
              <a:defRPr/>
            </a:pPr>
            <a:r>
              <a:rPr lang="ru-RU" sz="1500" dirty="0" smtClean="0">
                <a:solidFill>
                  <a:schemeClr val="tx1"/>
                </a:solidFill>
              </a:rPr>
              <a:t>-врач педиатр участковый</a:t>
            </a:r>
          </a:p>
          <a:p>
            <a:pPr algn="ctr">
              <a:defRPr/>
            </a:pPr>
            <a:r>
              <a:rPr lang="ru-RU" sz="1500" dirty="0" smtClean="0">
                <a:solidFill>
                  <a:schemeClr val="tx1"/>
                </a:solidFill>
              </a:rPr>
              <a:t>-врач скорой помощи</a:t>
            </a:r>
            <a:endParaRPr lang="ru-RU" sz="1500" dirty="0">
              <a:solidFill>
                <a:schemeClr val="tx1"/>
              </a:solidFill>
            </a:endParaRPr>
          </a:p>
        </p:txBody>
      </p:sp>
      <p:grpSp>
        <p:nvGrpSpPr>
          <p:cNvPr id="23" name="Группа 31"/>
          <p:cNvGrpSpPr>
            <a:grpSpLocks/>
          </p:cNvGrpSpPr>
          <p:nvPr/>
        </p:nvGrpSpPr>
        <p:grpSpPr bwMode="auto">
          <a:xfrm>
            <a:off x="0" y="620713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24" name="Прямоугольник 23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221852" y="784226"/>
              <a:ext cx="362877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68963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1599406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1764506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36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2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723167" y="116632"/>
            <a:ext cx="8218532" cy="4001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20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r>
              <a:rPr lang="ru-RU" dirty="0"/>
              <a:t>Изменения высшего медицинского и фармацевтического образования 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3779912" y="2564904"/>
            <a:ext cx="1584176" cy="288032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anchor="ctr"/>
          <a:lstStyle/>
          <a:p>
            <a:pPr algn="ctr">
              <a:lnSpc>
                <a:spcPts val="1000"/>
              </a:lnSpc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Первичная</a:t>
            </a:r>
          </a:p>
          <a:p>
            <a:pPr algn="ctr">
              <a:lnSpc>
                <a:spcPts val="1000"/>
              </a:lnSpc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аккредитация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403648" y="4005064"/>
            <a:ext cx="1800200" cy="50405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anchor="ctr"/>
          <a:lstStyle/>
          <a:p>
            <a:pPr algn="ctr">
              <a:lnSpc>
                <a:spcPts val="1000"/>
              </a:lnSpc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Первичная специализированная </a:t>
            </a:r>
          </a:p>
          <a:p>
            <a:pPr algn="ctr">
              <a:lnSpc>
                <a:spcPts val="1000"/>
              </a:lnSpc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аккредитация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971600" y="4869160"/>
            <a:ext cx="2952328" cy="1080120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anchor="ctr"/>
          <a:lstStyle/>
          <a:p>
            <a:pPr algn="ctr">
              <a:defRPr/>
            </a:pPr>
            <a:r>
              <a:rPr lang="ru-RU" sz="1500" dirty="0" smtClean="0">
                <a:solidFill>
                  <a:schemeClr val="tx1"/>
                </a:solidFill>
              </a:rPr>
              <a:t>Специализированная медицинская помощь </a:t>
            </a:r>
          </a:p>
          <a:p>
            <a:pPr algn="ctr">
              <a:defRPr/>
            </a:pPr>
            <a:r>
              <a:rPr lang="ru-RU" sz="1500" dirty="0" smtClean="0">
                <a:solidFill>
                  <a:schemeClr val="tx1"/>
                </a:solidFill>
              </a:rPr>
              <a:t>(поликлиника, стационар, </a:t>
            </a:r>
          </a:p>
          <a:p>
            <a:pPr algn="ctr">
              <a:defRPr/>
            </a:pPr>
            <a:r>
              <a:rPr lang="ru-RU" sz="1500" dirty="0" smtClean="0">
                <a:solidFill>
                  <a:schemeClr val="tx1"/>
                </a:solidFill>
              </a:rPr>
              <a:t>все специальности).</a:t>
            </a:r>
            <a:endParaRPr lang="ru-RU" sz="1500" dirty="0">
              <a:solidFill>
                <a:schemeClr val="tx1"/>
              </a:solidFill>
            </a:endParaRPr>
          </a:p>
        </p:txBody>
      </p:sp>
      <p:sp>
        <p:nvSpPr>
          <p:cNvPr id="64" name="Тройная стрелка влево/вправо/вверх 63"/>
          <p:cNvSpPr/>
          <p:nvPr/>
        </p:nvSpPr>
        <p:spPr>
          <a:xfrm rot="8422352">
            <a:off x="3958299" y="3853536"/>
            <a:ext cx="1800200" cy="1373498"/>
          </a:xfrm>
          <a:prstGeom prst="leftRightUpArrow">
            <a:avLst>
              <a:gd name="adj1" fmla="val 34705"/>
              <a:gd name="adj2" fmla="val 25000"/>
              <a:gd name="adj3" fmla="val 25000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5364088" y="4869160"/>
            <a:ext cx="2952328" cy="1080120"/>
          </a:xfrm>
          <a:prstGeom prst="rect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anchor="ctr"/>
          <a:lstStyle/>
          <a:p>
            <a:pPr algn="ctr">
              <a:defRPr/>
            </a:pPr>
            <a:r>
              <a:rPr lang="ru-RU" sz="1500" dirty="0" smtClean="0">
                <a:solidFill>
                  <a:schemeClr val="tx1"/>
                </a:solidFill>
              </a:rPr>
              <a:t>Профессиональная деятельность.</a:t>
            </a:r>
            <a:endParaRPr lang="ru-RU" sz="1500" dirty="0">
              <a:solidFill>
                <a:schemeClr val="tx1"/>
              </a:solidFill>
            </a:endParaRPr>
          </a:p>
        </p:txBody>
      </p:sp>
      <p:sp>
        <p:nvSpPr>
          <p:cNvPr id="66" name="Прямоугольник 65"/>
          <p:cNvSpPr/>
          <p:nvPr/>
        </p:nvSpPr>
        <p:spPr>
          <a:xfrm rot="19279538">
            <a:off x="3891506" y="4086659"/>
            <a:ext cx="1647800" cy="37284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anchor="ctr"/>
          <a:lstStyle/>
          <a:p>
            <a:pPr algn="ctr"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Периодическая аккредитация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4211960" y="2924944"/>
            <a:ext cx="720080" cy="8640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Номер слайда 64"/>
          <p:cNvSpPr>
            <a:spLocks noGrp="1"/>
          </p:cNvSpPr>
          <p:nvPr>
            <p:ph type="sldNum" sz="quarter" idx="12"/>
          </p:nvPr>
        </p:nvSpPr>
        <p:spPr>
          <a:xfrm>
            <a:off x="8557592" y="6492875"/>
            <a:ext cx="586408" cy="365125"/>
          </a:xfrm>
        </p:spPr>
        <p:txBody>
          <a:bodyPr/>
          <a:lstStyle/>
          <a:p>
            <a:pPr>
              <a:defRPr/>
            </a:pPr>
            <a:fld id="{9FB529F0-CFB5-4488-81D0-0CCFD6778A02}" type="slidenum">
              <a:rPr lang="ru-RU" sz="1400" b="1" smtClean="0">
                <a:solidFill>
                  <a:schemeClr val="tx1"/>
                </a:solidFill>
              </a:rPr>
              <a:pPr>
                <a:defRPr/>
              </a:pPr>
              <a:t>5</a:t>
            </a:fld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51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/>
          <p:cNvGrpSpPr/>
          <p:nvPr/>
        </p:nvGrpSpPr>
        <p:grpSpPr>
          <a:xfrm>
            <a:off x="52004" y="2780928"/>
            <a:ext cx="4049937" cy="4005062"/>
            <a:chOff x="741023" y="2852937"/>
            <a:chExt cx="5081489" cy="4005062"/>
          </a:xfrm>
        </p:grpSpPr>
        <p:sp>
          <p:nvSpPr>
            <p:cNvPr id="23" name="Равнобедренный треугольник 22"/>
            <p:cNvSpPr/>
            <p:nvPr/>
          </p:nvSpPr>
          <p:spPr>
            <a:xfrm>
              <a:off x="971589" y="2852937"/>
              <a:ext cx="4850923" cy="4005062"/>
            </a:xfrm>
            <a:prstGeom prst="triangle">
              <a:avLst/>
            </a:prstGeom>
            <a:solidFill>
              <a:schemeClr val="accent6">
                <a:lumMod val="60000"/>
                <a:lumOff val="40000"/>
              </a:schemeClr>
            </a:solidFill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shade val="5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Прямоугольник 23"/>
            <p:cNvSpPr/>
            <p:nvPr/>
          </p:nvSpPr>
          <p:spPr>
            <a:xfrm>
              <a:off x="741023" y="3212977"/>
              <a:ext cx="4165918" cy="1512168"/>
            </a:xfrm>
            <a:prstGeom prst="rect">
              <a:avLst/>
            </a:prstGeom>
            <a:scene3d>
              <a:camera prst="orthographicFront"/>
              <a:lightRig rig="flat" dir="t"/>
            </a:scene3d>
            <a:sp3d z="190500" extrusionH="12700" prstMaterial="plastic">
              <a:bevelT w="50800" h="50800"/>
            </a:sp3d>
          </p:spPr>
          <p:style>
            <a:ln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233" tIns="113233" rIns="113233" bIns="113233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/>
                <a:t>Федеральный закон от 21.11.2011 №323-ФЗ «Об основах охраны здоровья граждан в Российской Федерации»</a:t>
              </a:r>
              <a:endParaRPr lang="ru-RU" sz="1600" kern="1200" dirty="0"/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762128" y="4855468"/>
              <a:ext cx="4123708" cy="877789"/>
            </a:xfrm>
            <a:prstGeom prst="rect">
              <a:avLst/>
            </a:prstGeom>
            <a:scene3d>
              <a:camera prst="orthographicFront"/>
              <a:lightRig rig="flat" dir="t"/>
            </a:scene3d>
            <a:sp3d z="190500" extrusionH="12700" prstMaterial="plastic">
              <a:bevelT w="50800" h="50800"/>
            </a:sp3d>
          </p:spPr>
          <p:style>
            <a:lnRef idx="1">
              <a:schemeClr val="accent1">
                <a:shade val="50000"/>
                <a:hueOff val="240958"/>
                <a:satOff val="-5040"/>
                <a:lumOff val="28042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094" tIns="114094" rIns="114094" bIns="114094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/>
                <a:t>Ведомственные нормативные правовые акты Минздрава России</a:t>
              </a:r>
              <a:endParaRPr lang="ru-RU" sz="1600" kern="1200" dirty="0"/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752356" y="5811433"/>
              <a:ext cx="4169365" cy="927052"/>
            </a:xfrm>
            <a:prstGeom prst="rect">
              <a:avLst/>
            </a:prstGeom>
            <a:scene3d>
              <a:camera prst="orthographicFront"/>
              <a:lightRig rig="flat" dir="t"/>
            </a:scene3d>
            <a:sp3d z="190500" extrusionH="12700" prstMaterial="plastic">
              <a:bevelT w="50800" h="50800"/>
            </a:sp3d>
          </p:spPr>
          <p:style>
            <a:lnRef idx="1">
              <a:schemeClr val="accent1">
                <a:shade val="50000"/>
                <a:hueOff val="240958"/>
                <a:satOff val="-5040"/>
                <a:lumOff val="28042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1908" tIns="111908" rIns="111908" bIns="111908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/>
                <a:t>Методические рекомендации, типовые регламенты и иные документы Методического  центра аккредитации</a:t>
              </a:r>
              <a:endParaRPr lang="ru-RU" sz="1600" kern="1200" dirty="0"/>
            </a:p>
          </p:txBody>
        </p:sp>
      </p:grpSp>
      <p:sp>
        <p:nvSpPr>
          <p:cNvPr id="7" name="Прямоугольник 13"/>
          <p:cNvSpPr txBox="1">
            <a:spLocks noChangeArrowheads="1"/>
          </p:cNvSpPr>
          <p:nvPr/>
        </p:nvSpPr>
        <p:spPr bwMode="auto">
          <a:xfrm>
            <a:off x="87256" y="1903776"/>
            <a:ext cx="3764664" cy="877152"/>
          </a:xfrm>
          <a:prstGeom prst="round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b="1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ru-RU" sz="1600" dirty="0" smtClean="0"/>
              <a:t>Иерархия нормативно-правовой системы, </a:t>
            </a:r>
          </a:p>
          <a:p>
            <a:pPr>
              <a:defRPr/>
            </a:pPr>
            <a:r>
              <a:rPr lang="ru-RU" sz="1600" dirty="0" smtClean="0"/>
              <a:t>регулирующей процедуру </a:t>
            </a:r>
          </a:p>
          <a:p>
            <a:pPr>
              <a:defRPr/>
            </a:pPr>
            <a:r>
              <a:rPr lang="ru-RU" sz="1600" dirty="0" smtClean="0"/>
              <a:t>аккредитации специалистов</a:t>
            </a:r>
          </a:p>
        </p:txBody>
      </p:sp>
      <p:sp>
        <p:nvSpPr>
          <p:cNvPr id="11" name="Прямоугольник 13"/>
          <p:cNvSpPr txBox="1">
            <a:spLocks noChangeArrowheads="1"/>
          </p:cNvSpPr>
          <p:nvPr/>
        </p:nvSpPr>
        <p:spPr bwMode="auto">
          <a:xfrm>
            <a:off x="204788" y="692697"/>
            <a:ext cx="8759700" cy="1080120"/>
          </a:xfrm>
          <a:prstGeom prst="rect">
            <a:avLst/>
          </a:prstGeom>
          <a:ln>
            <a:solidFill>
              <a:schemeClr val="accent2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b="1">
                <a:latin typeface="Times New Roman" pitchFamily="18" charset="0"/>
                <a:cs typeface="Times New Roman" pitchFamily="18" charset="0"/>
              </a:defRPr>
            </a:lvl1pPr>
          </a:lstStyle>
          <a:p>
            <a:pPr marL="180975" algn="l">
              <a:buFontTx/>
              <a:buChar char="-"/>
              <a:defRPr/>
            </a:pPr>
            <a:r>
              <a:rPr lang="ru-RU" sz="1400" b="0" dirty="0" smtClean="0"/>
              <a:t>до 1 января 2016 года отсутствовало нормативно-правовое регулирование системы аккредитации специалиста;</a:t>
            </a:r>
          </a:p>
          <a:p>
            <a:pPr marL="180975" algn="l">
              <a:buFontTx/>
              <a:buChar char="-"/>
              <a:defRPr/>
            </a:pPr>
            <a:r>
              <a:rPr lang="ru-RU" sz="1400" b="0" dirty="0" smtClean="0"/>
              <a:t>статья 69 Федерального закона №323-ФЗ не содержала норм, разъясняющих систему и процедуру аккредитации специалистов;</a:t>
            </a:r>
          </a:p>
          <a:p>
            <a:pPr marL="180975" algn="l">
              <a:defRPr/>
            </a:pPr>
            <a:r>
              <a:rPr lang="ru-RU" sz="1400" b="0" dirty="0" smtClean="0"/>
              <a:t>- отсутствовали полномочия по организации проведения аккредитации специалистов  и утверждению подзаконных нормативных правовых актов. </a:t>
            </a:r>
          </a:p>
        </p:txBody>
      </p:sp>
      <p:grpSp>
        <p:nvGrpSpPr>
          <p:cNvPr id="8" name="Группа 31"/>
          <p:cNvGrpSpPr>
            <a:grpSpLocks/>
          </p:cNvGrpSpPr>
          <p:nvPr/>
        </p:nvGrpSpPr>
        <p:grpSpPr bwMode="auto">
          <a:xfrm>
            <a:off x="-20638" y="537121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9" name="Прямоугольник 8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18" name="Прямоугольник 13"/>
          <p:cNvSpPr txBox="1">
            <a:spLocks noChangeArrowheads="1"/>
          </p:cNvSpPr>
          <p:nvPr/>
        </p:nvSpPr>
        <p:spPr bwMode="auto">
          <a:xfrm>
            <a:off x="611560" y="0"/>
            <a:ext cx="8532440" cy="4766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20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r>
              <a:rPr lang="ru-RU" sz="1800" dirty="0"/>
              <a:t>  СТРУКТУРА НОРМАТИВНО-ПРАВОВОГО И МЕТОДИЧЕСКОГО РЕГУЛИРОВАНИЯ </a:t>
            </a:r>
          </a:p>
          <a:p>
            <a:r>
              <a:rPr lang="ru-RU" sz="1800" dirty="0"/>
              <a:t>ПРОЦЕДУРЫ АККРЕДИТАЦИИ СПЕЦИАЛИСТОВ</a:t>
            </a:r>
          </a:p>
        </p:txBody>
      </p:sp>
      <p:pic>
        <p:nvPicPr>
          <p:cNvPr id="19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Номер слайда 64"/>
          <p:cNvSpPr>
            <a:spLocks noGrp="1"/>
          </p:cNvSpPr>
          <p:nvPr>
            <p:ph type="sldNum" sz="quarter" idx="12"/>
          </p:nvPr>
        </p:nvSpPr>
        <p:spPr>
          <a:xfrm>
            <a:off x="8557592" y="6492875"/>
            <a:ext cx="586408" cy="365125"/>
          </a:xfrm>
        </p:spPr>
        <p:txBody>
          <a:bodyPr/>
          <a:lstStyle/>
          <a:p>
            <a:pPr>
              <a:defRPr/>
            </a:pPr>
            <a:fld id="{9FB529F0-CFB5-4488-81D0-0CCFD6778A02}" type="slidenum">
              <a:rPr lang="ru-RU" sz="1400" b="1" smtClean="0">
                <a:solidFill>
                  <a:schemeClr val="tx1"/>
                </a:solidFill>
              </a:rPr>
              <a:pPr>
                <a:defRPr/>
              </a:pPr>
              <a:t>6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949720" y="2137802"/>
            <a:ext cx="5040560" cy="2246769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/>
              <a:t>-выдача </a:t>
            </a:r>
            <a:r>
              <a:rPr lang="ru-RU" sz="1400" dirty="0"/>
              <a:t>сертификатов пролонгирована до 2021 года, а право на осуществление медицинской деятельности на основании сертификатов специалиста – до 2026 </a:t>
            </a:r>
            <a:r>
              <a:rPr lang="ru-RU" sz="1400" dirty="0" smtClean="0"/>
              <a:t>года</a:t>
            </a:r>
            <a:endParaRPr lang="ru-RU" sz="1400" dirty="0"/>
          </a:p>
          <a:p>
            <a:pPr algn="just"/>
            <a:r>
              <a:rPr lang="ru-RU" sz="1400" dirty="0" smtClean="0"/>
              <a:t>-регламентирована </a:t>
            </a:r>
            <a:r>
              <a:rPr lang="ru-RU" sz="1400" dirty="0" err="1" smtClean="0"/>
              <a:t>этапность</a:t>
            </a:r>
            <a:r>
              <a:rPr lang="ru-RU" sz="1400" dirty="0" smtClean="0"/>
              <a:t> перехода к </a:t>
            </a:r>
            <a:r>
              <a:rPr lang="ru-RU" sz="1400" dirty="0"/>
              <a:t>процедуре аккредитации </a:t>
            </a:r>
            <a:endParaRPr lang="ru-RU" sz="1400" dirty="0" smtClean="0"/>
          </a:p>
          <a:p>
            <a:pPr algn="just"/>
            <a:r>
              <a:rPr lang="ru-RU" sz="1400" dirty="0" smtClean="0"/>
              <a:t>-аккредитация </a:t>
            </a:r>
            <a:r>
              <a:rPr lang="ru-RU" sz="1400" dirty="0"/>
              <a:t>специалиста проводится </a:t>
            </a:r>
            <a:r>
              <a:rPr lang="ru-RU" sz="1400" dirty="0" err="1"/>
              <a:t>аккредитационными</a:t>
            </a:r>
            <a:r>
              <a:rPr lang="ru-RU" sz="1400" dirty="0"/>
              <a:t> </a:t>
            </a:r>
            <a:r>
              <a:rPr lang="ru-RU" sz="1400" dirty="0" smtClean="0"/>
              <a:t>комиссиями</a:t>
            </a:r>
            <a:endParaRPr lang="ru-RU" sz="1400" dirty="0"/>
          </a:p>
          <a:p>
            <a:pPr algn="just"/>
            <a:r>
              <a:rPr lang="ru-RU" sz="1400" dirty="0" smtClean="0"/>
              <a:t>-аккредитационные </a:t>
            </a:r>
            <a:r>
              <a:rPr lang="ru-RU" sz="1400" dirty="0"/>
              <a:t>комиссии формируются Минздравом России с участием некоммерческих профессиональных </a:t>
            </a:r>
            <a:r>
              <a:rPr lang="ru-RU" sz="1400" dirty="0" smtClean="0"/>
              <a:t>организаций</a:t>
            </a:r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3949720" y="4573578"/>
            <a:ext cx="5040560" cy="2031325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400" dirty="0"/>
              <a:t>-с</a:t>
            </a:r>
            <a:r>
              <a:rPr lang="ru-RU" sz="1400" dirty="0">
                <a:cs typeface="Times New Roman" pitchFamily="18" charset="0"/>
              </a:rPr>
              <a:t>роки и этапы аккредитации </a:t>
            </a:r>
            <a:r>
              <a:rPr lang="ru-RU" sz="1400" dirty="0" smtClean="0">
                <a:cs typeface="Times New Roman" pitchFamily="18" charset="0"/>
              </a:rPr>
              <a:t>специалистов – </a:t>
            </a:r>
            <a:r>
              <a:rPr lang="ru-RU" sz="14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Приказ Минздрава России от 25.02.2016 № 127н (зарегистрирован в Минюсте России 14.03.2016  </a:t>
            </a:r>
            <a:r>
              <a:rPr lang="ru-RU" sz="1400" dirty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№ 41401</a:t>
            </a:r>
            <a:r>
              <a:rPr lang="ru-RU" sz="14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)</a:t>
            </a:r>
          </a:p>
          <a:p>
            <a:pPr algn="just"/>
            <a:r>
              <a:rPr lang="ru-RU" sz="14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-п</a:t>
            </a:r>
            <a:r>
              <a:rPr lang="ru-RU" sz="1400" dirty="0" smtClean="0">
                <a:cs typeface="Times New Roman" pitchFamily="18" charset="0"/>
              </a:rPr>
              <a:t>оложение </a:t>
            </a:r>
            <a:r>
              <a:rPr lang="ru-RU" sz="1400" dirty="0">
                <a:cs typeface="Times New Roman" pitchFamily="18" charset="0"/>
              </a:rPr>
              <a:t>об аккредитации </a:t>
            </a:r>
            <a:r>
              <a:rPr lang="ru-RU" sz="1400" dirty="0" smtClean="0">
                <a:cs typeface="Times New Roman" pitchFamily="18" charset="0"/>
              </a:rPr>
              <a:t>специалистов - </a:t>
            </a:r>
            <a:r>
              <a:rPr lang="ru-RU" sz="1400" dirty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Приказ Минздрава России от 02.06.2016 № 334н (зарегистрирован в Минюсте России 16.06.2016, № </a:t>
            </a:r>
            <a:r>
              <a:rPr lang="ru-RU" sz="14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42550)</a:t>
            </a:r>
          </a:p>
          <a:p>
            <a:pPr algn="just"/>
            <a:r>
              <a:rPr lang="ru-RU" sz="14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-п</a:t>
            </a:r>
            <a:r>
              <a:rPr lang="ru-RU" sz="1400" dirty="0" smtClean="0">
                <a:cs typeface="Times New Roman" pitchFamily="18" charset="0"/>
              </a:rPr>
              <a:t>орядок </a:t>
            </a:r>
            <a:r>
              <a:rPr lang="ru-RU" sz="1400" dirty="0">
                <a:cs typeface="Times New Roman" pitchFamily="18" charset="0"/>
              </a:rPr>
              <a:t>выдачи свидетельства об аккредитации </a:t>
            </a:r>
            <a:r>
              <a:rPr lang="ru-RU" sz="1400" dirty="0" smtClean="0">
                <a:cs typeface="Times New Roman" pitchFamily="18" charset="0"/>
              </a:rPr>
              <a:t>специалиста - </a:t>
            </a:r>
            <a:r>
              <a:rPr lang="ru-RU" sz="14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Приказ </a:t>
            </a:r>
            <a:r>
              <a:rPr lang="ru-RU" sz="1400" dirty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Минздрава России от 06.06.2016 № 352н (зарегистрирован в Минюсте России 04.07.2016, № </a:t>
            </a:r>
            <a:r>
              <a:rPr lang="ru-RU" sz="14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42742)</a:t>
            </a:r>
            <a:endParaRPr lang="ru-RU" sz="14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8" name="Стрелка вправо 27"/>
          <p:cNvSpPr/>
          <p:nvPr/>
        </p:nvSpPr>
        <p:spPr bwMode="auto">
          <a:xfrm rot="20034147" flipV="1">
            <a:off x="3386050" y="3647796"/>
            <a:ext cx="551897" cy="130572"/>
          </a:xfrm>
          <a:prstGeom prst="rightArrow">
            <a:avLst>
              <a:gd name="adj1" fmla="val 50000"/>
              <a:gd name="adj2" fmla="val 232887"/>
            </a:avLst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9" name="Стрелка вправо 28"/>
          <p:cNvSpPr/>
          <p:nvPr/>
        </p:nvSpPr>
        <p:spPr bwMode="auto">
          <a:xfrm flipV="1">
            <a:off x="3402292" y="5222353"/>
            <a:ext cx="551897" cy="130572"/>
          </a:xfrm>
          <a:prstGeom prst="rightArrow">
            <a:avLst>
              <a:gd name="adj1" fmla="val 50000"/>
              <a:gd name="adj2" fmla="val 232887"/>
            </a:avLst>
          </a:prstGeom>
          <a:solidFill>
            <a:schemeClr val="accent5">
              <a:lumMod val="2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anchor="ctr"/>
          <a:lstStyle/>
          <a:p>
            <a:pPr algn="ctr" eaLnBrk="1" hangingPunct="1">
              <a:defRPr/>
            </a:pPr>
            <a:endParaRPr lang="ru-RU" sz="140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48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Выноска со стрелкой вправо 33"/>
          <p:cNvSpPr/>
          <p:nvPr/>
        </p:nvSpPr>
        <p:spPr>
          <a:xfrm>
            <a:off x="107504" y="5301208"/>
            <a:ext cx="5976664" cy="792088"/>
          </a:xfrm>
          <a:prstGeom prst="rightArrowCallout">
            <a:avLst>
              <a:gd name="adj1" fmla="val 9818"/>
              <a:gd name="adj2" fmla="val 10661"/>
              <a:gd name="adj3" fmla="val 32321"/>
              <a:gd name="adj4" fmla="val 5622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</a:rPr>
              <a:t>Переход указанных специалистов на программу непрерывного медицинского образования</a:t>
            </a:r>
            <a:endParaRPr lang="ru-RU" sz="1400" dirty="0"/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7884368" y="1412776"/>
            <a:ext cx="1259632" cy="496855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rgbClr val="C00000"/>
                </a:solidFill>
              </a:rPr>
              <a:t>Все специалисты прошли процедуру аккредитации специалистов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4" name="Прямоугольник 13"/>
          <p:cNvSpPr txBox="1">
            <a:spLocks noChangeArrowheads="1"/>
          </p:cNvSpPr>
          <p:nvPr/>
        </p:nvSpPr>
        <p:spPr bwMode="auto">
          <a:xfrm>
            <a:off x="395288" y="116631"/>
            <a:ext cx="8374062" cy="3600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/>
              <a:t>ЭТАПНОСТЬ ВНЕДРЕНИЯ АККРЕДИТАЦИИ </a:t>
            </a:r>
          </a:p>
        </p:txBody>
      </p:sp>
      <p:cxnSp>
        <p:nvCxnSpPr>
          <p:cNvPr id="6" name="Прямая со стрелкой 5"/>
          <p:cNvCxnSpPr/>
          <p:nvPr/>
        </p:nvCxnSpPr>
        <p:spPr>
          <a:xfrm>
            <a:off x="107504" y="6093296"/>
            <a:ext cx="8532440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07504" y="5949280"/>
            <a:ext cx="0" cy="36004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65858" y="6211669"/>
            <a:ext cx="15588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Первый</a:t>
            </a:r>
            <a:r>
              <a:rPr lang="en-US" dirty="0" smtClean="0"/>
              <a:t> </a:t>
            </a:r>
            <a:r>
              <a:rPr lang="ru-RU" dirty="0" smtClean="0"/>
              <a:t>этап</a:t>
            </a:r>
          </a:p>
          <a:p>
            <a:pPr algn="ctr"/>
            <a:r>
              <a:rPr lang="ru-RU" dirty="0" smtClean="0"/>
              <a:t>2016 год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107504" y="1772816"/>
            <a:ext cx="1728192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q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 Первичная аккредитация</a:t>
            </a:r>
          </a:p>
          <a:p>
            <a:pPr>
              <a:buFontTx/>
              <a:buChar char="-"/>
            </a:pPr>
            <a:r>
              <a:rPr lang="ru-RU" sz="1400" dirty="0" smtClean="0">
                <a:solidFill>
                  <a:srgbClr val="7030A0"/>
                </a:solidFill>
                <a:cs typeface="Times New Roman" pitchFamily="18" charset="0"/>
              </a:rPr>
              <a:t>лиц, завершивших обучение по основной образовательной программе ВО по специальностям «стоматология» и «фармация»;</a:t>
            </a:r>
          </a:p>
          <a:p>
            <a:pPr>
              <a:buFontTx/>
              <a:buChar char="-"/>
            </a:pPr>
            <a:endParaRPr lang="ru-RU" sz="1400" dirty="0" smtClean="0">
              <a:solidFill>
                <a:srgbClr val="7030A0"/>
              </a:solidFill>
              <a:cs typeface="Times New Roman" pitchFamily="18" charset="0"/>
            </a:endParaRPr>
          </a:p>
          <a:p>
            <a:pPr>
              <a:buFont typeface="Wingdings" pitchFamily="2" charset="2"/>
              <a:buChar char="q"/>
            </a:pPr>
            <a:r>
              <a:rPr lang="ru-RU" sz="1400" b="1" u="sng" dirty="0" smtClean="0">
                <a:solidFill>
                  <a:srgbClr val="C00000"/>
                </a:solidFill>
                <a:cs typeface="Times New Roman" pitchFamily="18" charset="0"/>
              </a:rPr>
              <a:t>Сертификация</a:t>
            </a:r>
            <a:r>
              <a:rPr lang="ru-RU" sz="1400" b="1" dirty="0" smtClean="0">
                <a:cs typeface="Times New Roman" pitchFamily="18" charset="0"/>
              </a:rPr>
              <a:t> </a:t>
            </a:r>
            <a:r>
              <a:rPr lang="ru-RU" sz="1400" dirty="0" smtClean="0">
                <a:cs typeface="Times New Roman" pitchFamily="18" charset="0"/>
              </a:rPr>
              <a:t>иных лиц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979712" y="1700808"/>
            <a:ext cx="18002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q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Первичная аккредитация</a:t>
            </a:r>
          </a:p>
          <a:p>
            <a:pPr>
              <a:buFontTx/>
              <a:buChar char="-"/>
            </a:pPr>
            <a:r>
              <a:rPr lang="ru-RU" sz="14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лиц, завершивших обучение по основной образовательной программе ВО по всем специальностям (уровень специалитет).</a:t>
            </a:r>
          </a:p>
          <a:p>
            <a:pPr>
              <a:buFontTx/>
              <a:buChar char="-"/>
            </a:pPr>
            <a:endParaRPr lang="ru-RU" sz="1400" dirty="0" smtClean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q"/>
            </a:pPr>
            <a:r>
              <a:rPr lang="ru-RU" sz="1400" b="1" u="sng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ертификация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ных лиц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1907704" y="5949280"/>
            <a:ext cx="0" cy="36004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123728" y="6211669"/>
            <a:ext cx="14796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Второй этап</a:t>
            </a:r>
          </a:p>
          <a:p>
            <a:pPr algn="ctr"/>
            <a:r>
              <a:rPr lang="ru-RU" dirty="0" smtClean="0"/>
              <a:t>2017 год</a:t>
            </a:r>
            <a:endParaRPr lang="ru-RU" dirty="0"/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851920" y="5949280"/>
            <a:ext cx="0" cy="36004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3779912" y="1628800"/>
            <a:ext cx="237626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q"/>
            </a:pP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Первичная аккредитация</a:t>
            </a:r>
          </a:p>
          <a:p>
            <a:r>
              <a:rPr lang="ru-RU" sz="12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-лиц, завершивших обучение по образовательной программе  ВО (уровень бакалавра и уровень магистратуры), СПО</a:t>
            </a:r>
          </a:p>
          <a:p>
            <a:pPr marL="228600" indent="-228600">
              <a:buFont typeface="Wingdings" pitchFamily="2" charset="2"/>
              <a:buChar char="q"/>
            </a:pP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ервичная</a:t>
            </a:r>
          </a:p>
          <a:p>
            <a:pPr marL="228600" indent="-228600"/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пециализированная</a:t>
            </a:r>
          </a:p>
          <a:p>
            <a:pPr marL="228600" indent="-228600"/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аккредитация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лиц, завершивших обучение по программе ординатуры;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лиц, прошедших программу профессиональной переподготовки;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лиц, получивших медицинское или фармацевтическое образование в иностранных государствах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лиц, получивших иное высшее образование (осуществляющих </a:t>
            </a:r>
            <a:r>
              <a:rPr lang="ru-RU" sz="1200" dirty="0" err="1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мед.деятельность</a:t>
            </a:r>
            <a:r>
              <a:rPr lang="ru-RU" sz="12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>
              <a:buFont typeface="Wingdings" pitchFamily="2" charset="2"/>
              <a:buChar char="q"/>
            </a:pPr>
            <a:r>
              <a:rPr lang="ru-RU" sz="1200" b="1" u="sng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ертификация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иных лиц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355976" y="6211669"/>
            <a:ext cx="14564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Третий этап</a:t>
            </a:r>
          </a:p>
          <a:p>
            <a:pPr algn="ctr"/>
            <a:r>
              <a:rPr lang="ru-RU" dirty="0" smtClean="0"/>
              <a:t>2018 год</a:t>
            </a:r>
            <a:endParaRPr lang="ru-RU" dirty="0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6156176" y="5589240"/>
            <a:ext cx="0" cy="648072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7956376" y="5661248"/>
            <a:ext cx="1099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2026 год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07504" y="692696"/>
            <a:ext cx="8928992" cy="6480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риказ Минздрава России от 25 февраля 2016 г. № 127н «Об утверждении сроков и этапов аккредитации специалистов, а также категорий лиц, имеющих медицинское, фармацевтическое или иное образование и подлежащих аккредитации специалистов» (Зарегистрирован в Минюсте России 14 марта 2016 г. N 41401)</a:t>
            </a:r>
            <a:endParaRPr lang="ru-RU" sz="1400" dirty="0"/>
          </a:p>
        </p:txBody>
      </p:sp>
      <p:sp>
        <p:nvSpPr>
          <p:cNvPr id="22" name="TextBox 21"/>
          <p:cNvSpPr txBox="1"/>
          <p:nvPr/>
        </p:nvSpPr>
        <p:spPr>
          <a:xfrm>
            <a:off x="6084168" y="6211669"/>
            <a:ext cx="18705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Четвертый этап</a:t>
            </a:r>
          </a:p>
          <a:p>
            <a:r>
              <a:rPr lang="ru-RU" dirty="0" smtClean="0"/>
              <a:t>2021 год</a:t>
            </a:r>
            <a:endParaRPr lang="ru-RU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7956376" y="5949280"/>
            <a:ext cx="0" cy="36004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6156176" y="2564904"/>
            <a:ext cx="172819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q"/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Периодическая аккредитация </a:t>
            </a:r>
          </a:p>
          <a:p>
            <a:r>
              <a:rPr lang="ru-RU" sz="14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 - иные лица, не прошедшие процедуру аккредитации специалистов  на этапах 1-3</a:t>
            </a:r>
          </a:p>
        </p:txBody>
      </p:sp>
      <p:grpSp>
        <p:nvGrpSpPr>
          <p:cNvPr id="2" name="Группа 31"/>
          <p:cNvGrpSpPr>
            <a:grpSpLocks/>
          </p:cNvGrpSpPr>
          <p:nvPr/>
        </p:nvGrpSpPr>
        <p:grpSpPr bwMode="auto">
          <a:xfrm>
            <a:off x="0" y="404664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29" name="Прямоугольник 28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39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395536" cy="39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Номер слайда 64"/>
          <p:cNvSpPr>
            <a:spLocks noGrp="1"/>
          </p:cNvSpPr>
          <p:nvPr>
            <p:ph type="sldNum" sz="quarter" idx="12"/>
          </p:nvPr>
        </p:nvSpPr>
        <p:spPr>
          <a:xfrm>
            <a:off x="8557592" y="6492875"/>
            <a:ext cx="586408" cy="365125"/>
          </a:xfrm>
        </p:spPr>
        <p:txBody>
          <a:bodyPr/>
          <a:lstStyle/>
          <a:p>
            <a:pPr>
              <a:defRPr/>
            </a:pPr>
            <a:fld id="{9FB529F0-CFB5-4488-81D0-0CCFD6778A02}" type="slidenum">
              <a:rPr lang="ru-RU" sz="1400" b="1" smtClean="0">
                <a:solidFill>
                  <a:schemeClr val="tx1"/>
                </a:solidFill>
              </a:rPr>
              <a:pPr>
                <a:defRPr/>
              </a:pPr>
              <a:t>7</a:t>
            </a:fld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177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79512" y="1268760"/>
            <a:ext cx="2484784" cy="151216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Лицо, выполнившее учебный план по основной образовательной программе высшего образования или среднего профессионального образования</a:t>
            </a:r>
            <a:r>
              <a:rPr lang="ru-RU" sz="1400" dirty="0" smtClean="0">
                <a:cs typeface="Times New Roman" pitchFamily="18" charset="0"/>
              </a:rPr>
              <a:t> </a:t>
            </a:r>
            <a:endParaRPr lang="ru-RU" sz="1400" dirty="0"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9512" y="3501008"/>
            <a:ext cx="2484784" cy="14401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Лицо, завершившее освоение  программы подготовки кадров высшей квалификации (ординатура, ПП)</a:t>
            </a:r>
            <a:endParaRPr lang="ru-RU" sz="1400" dirty="0"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092280" y="2996952"/>
            <a:ext cx="1944216" cy="122413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2">
                    <a:lumMod val="50000"/>
                  </a:schemeClr>
                </a:solidFill>
                <a:cs typeface="Times New Roman" pitchFamily="18" charset="0"/>
              </a:rPr>
              <a:t>Лицо, завершившее освоение  программы непрерывного медицинского образования</a:t>
            </a:r>
            <a:endParaRPr lang="ru-RU" sz="1400" dirty="0"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203848" y="2060848"/>
            <a:ext cx="13921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</a:rPr>
              <a:t>аккредитация*</a:t>
            </a:r>
            <a:endParaRPr lang="ru-RU" sz="14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563888" y="2780928"/>
            <a:ext cx="1728192" cy="864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cs typeface="Times New Roman" pitchFamily="18" charset="0"/>
              </a:rPr>
              <a:t>Право на осуществление профессиональной  деятельности </a:t>
            </a:r>
          </a:p>
        </p:txBody>
      </p:sp>
      <p:cxnSp>
        <p:nvCxnSpPr>
          <p:cNvPr id="18" name="Прямая со стрелкой 17"/>
          <p:cNvCxnSpPr/>
          <p:nvPr/>
        </p:nvCxnSpPr>
        <p:spPr>
          <a:xfrm>
            <a:off x="2699792" y="1916832"/>
            <a:ext cx="864096" cy="8640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067944" y="980728"/>
            <a:ext cx="486003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4">
                    <a:lumMod val="50000"/>
                  </a:schemeClr>
                </a:solidFill>
                <a:cs typeface="Times New Roman" pitchFamily="18" charset="0"/>
              </a:rPr>
              <a:t>Виды аккредитации специалистов:</a:t>
            </a:r>
          </a:p>
          <a:p>
            <a:pPr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  <a:cs typeface="Times New Roman" pitchFamily="18" charset="0"/>
              </a:rPr>
              <a:t> первичная аккредитация специалиста</a:t>
            </a:r>
          </a:p>
          <a:p>
            <a:pPr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  <a:cs typeface="Times New Roman" pitchFamily="18" charset="0"/>
              </a:rPr>
              <a:t> первичная специализированная аккредитация специалиста</a:t>
            </a:r>
          </a:p>
          <a:p>
            <a:pPr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  <a:cs typeface="Times New Roman" pitchFamily="18" charset="0"/>
              </a:rPr>
              <a:t> периодическая аккредитация специалиста</a:t>
            </a:r>
            <a:endParaRPr lang="ru-RU" sz="1400" dirty="0">
              <a:solidFill>
                <a:schemeClr val="accent4">
                  <a:lumMod val="50000"/>
                </a:schemeClr>
              </a:solidFill>
              <a:cs typeface="Times New Roman" pitchFamily="18" charset="0"/>
            </a:endParaRPr>
          </a:p>
        </p:txBody>
      </p:sp>
      <p:cxnSp>
        <p:nvCxnSpPr>
          <p:cNvPr id="38" name="Прямая со стрелкой 37"/>
          <p:cNvCxnSpPr/>
          <p:nvPr/>
        </p:nvCxnSpPr>
        <p:spPr>
          <a:xfrm flipV="1">
            <a:off x="2699792" y="3645024"/>
            <a:ext cx="864096" cy="72008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2987824" y="4149080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</a:rPr>
              <a:t>аккредитация**</a:t>
            </a:r>
            <a:endParaRPr lang="ru-RU" sz="14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148064" y="2636912"/>
            <a:ext cx="2304256" cy="43204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n w="10160">
                  <a:solidFill>
                    <a:schemeClr val="accent1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Непрерывное медицинское образование</a:t>
            </a:r>
            <a:endParaRPr lang="ru-RU" sz="1200" dirty="0">
              <a:ln w="10160">
                <a:solidFill>
                  <a:schemeClr val="accent1"/>
                </a:solidFill>
                <a:prstDash val="solid"/>
              </a:ln>
              <a:solidFill>
                <a:srgbClr val="FFFFFF"/>
              </a:solidFill>
              <a:effectLst>
                <a:outerShdw blurRad="38100" dist="32000" dir="540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cxnSp>
        <p:nvCxnSpPr>
          <p:cNvPr id="69" name="Прямая со стрелкой 68"/>
          <p:cNvCxnSpPr/>
          <p:nvPr/>
        </p:nvCxnSpPr>
        <p:spPr>
          <a:xfrm flipH="1">
            <a:off x="5292080" y="3429000"/>
            <a:ext cx="180020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5383886" y="3081577"/>
            <a:ext cx="1728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</a:rPr>
              <a:t>аккредитация***</a:t>
            </a:r>
            <a:endParaRPr lang="ru-RU" sz="14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0" y="5301208"/>
            <a:ext cx="914400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1350" dirty="0" smtClean="0">
                <a:solidFill>
                  <a:schemeClr val="accent4">
                    <a:lumMod val="50000"/>
                  </a:schemeClr>
                </a:solidFill>
              </a:rPr>
              <a:t>Аккредитация специалистов проводится аккредитационной комиссией, в состав которой входят представители </a:t>
            </a:r>
            <a:r>
              <a:rPr lang="ru-RU" sz="1350" dirty="0" smtClean="0">
                <a:solidFill>
                  <a:srgbClr val="FF5050"/>
                </a:solidFill>
              </a:rPr>
              <a:t>ПРОФЕССИОНАЛЬНЫХ НЕКОММЕРЧЕСКИХ ОРГАНИЗАЦИЙ, РАБОТОДАТЕЛЯ И ОБРАЗОВАТЕЛЬНОЙ ОРГАНИЗАЦИИ</a:t>
            </a:r>
          </a:p>
          <a:p>
            <a:pPr>
              <a:buFont typeface="Wingdings" pitchFamily="2" charset="2"/>
              <a:buChar char="ü"/>
            </a:pPr>
            <a:endParaRPr lang="ru-RU" sz="1350" dirty="0" smtClean="0">
              <a:solidFill>
                <a:srgbClr val="FF505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350" dirty="0" smtClean="0"/>
              <a:t>Аккредитация специалистов проводится </a:t>
            </a:r>
            <a:r>
              <a:rPr lang="ru-RU" sz="1350" dirty="0" smtClean="0">
                <a:solidFill>
                  <a:srgbClr val="FF5050"/>
                </a:solidFill>
              </a:rPr>
              <a:t>В ПОМЕЩЕНИЯХ ОБРАЗОВАТЕЛЬНЫХ (НАУЧНЫХ) ОРГАНИЗАЦИЙ С ИСПОЛЬЗОВАНИЕМ ПРИНАДЛЕЖАЩЕГО ИМ МАТЕРИАЛЬНО-ТЕХНИЧЕСКОГО ОБЕСПЕЧЕНИЯ </a:t>
            </a:r>
            <a:endParaRPr lang="ru-RU" sz="1350" dirty="0">
              <a:solidFill>
                <a:srgbClr val="FF5050"/>
              </a:solidFill>
            </a:endParaRPr>
          </a:p>
        </p:txBody>
      </p:sp>
      <p:sp>
        <p:nvSpPr>
          <p:cNvPr id="16" name="Прямоугольник 13"/>
          <p:cNvSpPr txBox="1">
            <a:spLocks noChangeArrowheads="1"/>
          </p:cNvSpPr>
          <p:nvPr/>
        </p:nvSpPr>
        <p:spPr bwMode="auto">
          <a:xfrm>
            <a:off x="395536" y="116632"/>
            <a:ext cx="8374062" cy="504800"/>
          </a:xfrm>
          <a:prstGeom prst="rect">
            <a:avLst/>
          </a:prstGeom>
          <a:noFill/>
          <a:ln w="25400" cap="flat" cmpd="sng" algn="ctr">
            <a:noFill/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b="1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+mn-lt"/>
                <a:ea typeface="+mj-ea"/>
                <a:cs typeface="+mj-cs"/>
              </a:rPr>
              <a:t>Приказ Минздрава России </a:t>
            </a:r>
            <a:endParaRPr lang="ru-RU" dirty="0" smtClean="0">
              <a:solidFill>
                <a:schemeClr val="tx2">
                  <a:lumMod val="75000"/>
                </a:schemeClr>
              </a:solidFill>
              <a:latin typeface="+mn-lt"/>
              <a:ea typeface="+mj-ea"/>
              <a:cs typeface="+mj-cs"/>
            </a:endParaRPr>
          </a:p>
          <a:p>
            <a:pPr>
              <a:defRPr/>
            </a:pP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j-ea"/>
                <a:cs typeface="+mj-cs"/>
              </a:rPr>
              <a:t>«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+mn-lt"/>
                <a:ea typeface="+mj-ea"/>
                <a:cs typeface="+mj-cs"/>
              </a:rPr>
              <a:t>Об утверждении Положения об аккредитации специалистов»</a:t>
            </a:r>
          </a:p>
        </p:txBody>
      </p:sp>
      <p:grpSp>
        <p:nvGrpSpPr>
          <p:cNvPr id="17" name="Группа 31"/>
          <p:cNvGrpSpPr>
            <a:grpSpLocks/>
          </p:cNvGrpSpPr>
          <p:nvPr/>
        </p:nvGrpSpPr>
        <p:grpSpPr bwMode="auto">
          <a:xfrm>
            <a:off x="0" y="620688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19" name="Прямоугольник 18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25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2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Номер слайда 50"/>
          <p:cNvSpPr>
            <a:spLocks noGrp="1"/>
          </p:cNvSpPr>
          <p:nvPr>
            <p:ph type="sldNum" sz="quarter" idx="12"/>
          </p:nvPr>
        </p:nvSpPr>
        <p:spPr>
          <a:xfrm>
            <a:off x="7010400" y="6525344"/>
            <a:ext cx="2133600" cy="332656"/>
          </a:xfrm>
        </p:spPr>
        <p:txBody>
          <a:bodyPr/>
          <a:lstStyle/>
          <a:p>
            <a:pPr>
              <a:defRPr/>
            </a:pPr>
            <a:fld id="{28A22B0F-A538-4F7F-B522-76E6578FD6E4}" type="slidenum">
              <a:rPr lang="ru-RU" sz="1400" b="1" smtClean="0">
                <a:solidFill>
                  <a:schemeClr val="tx1"/>
                </a:solidFill>
              </a:rPr>
              <a:pPr>
                <a:defRPr/>
              </a:pPr>
              <a:t>8</a:t>
            </a:fld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993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3"/>
          <p:cNvSpPr txBox="1">
            <a:spLocks noChangeArrowheads="1"/>
          </p:cNvSpPr>
          <p:nvPr/>
        </p:nvSpPr>
        <p:spPr bwMode="auto">
          <a:xfrm>
            <a:off x="395288" y="0"/>
            <a:ext cx="8374062" cy="351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20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r>
              <a:rPr lang="ru-RU" dirty="0"/>
              <a:t>Процедура первичной аккредитаци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07504" y="692696"/>
            <a:ext cx="1440160" cy="57606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ФГОС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0" y="6281936"/>
            <a:ext cx="1800200" cy="57606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фессиональный стандарт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6" name="Прямая со стрелкой 15"/>
          <p:cNvCxnSpPr>
            <a:stCxn id="14" idx="2"/>
            <a:endCxn id="19" idx="1"/>
          </p:cNvCxnSpPr>
          <p:nvPr/>
        </p:nvCxnSpPr>
        <p:spPr>
          <a:xfrm>
            <a:off x="827584" y="1268760"/>
            <a:ext cx="1440160" cy="18002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2267744" y="764704"/>
            <a:ext cx="3240360" cy="136815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сударственная итоговая аттестация</a:t>
            </a:r>
          </a:p>
          <a:p>
            <a:pPr algn="ctr"/>
            <a:r>
              <a:rPr lang="ru-RU" sz="1200" b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Итоговая аттестация)</a:t>
            </a:r>
          </a:p>
          <a:p>
            <a:pPr algn="ctr"/>
            <a:r>
              <a:rPr lang="ru-RU" sz="1200" b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200" dirty="0" smtClean="0"/>
              <a:t>определение соответствия результатов освоения обучающимися основных образовательных программ требованиям </a:t>
            </a:r>
            <a:r>
              <a:rPr lang="ru-RU" sz="1200" dirty="0" err="1" smtClean="0"/>
              <a:t>ФГОСа</a:t>
            </a:r>
            <a:r>
              <a:rPr lang="ru-RU" sz="1200" dirty="0" smtClean="0"/>
              <a:t>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0" name="Прямая со стрелкой 19"/>
          <p:cNvCxnSpPr>
            <a:stCxn id="40" idx="6"/>
            <a:endCxn id="24" idx="1"/>
          </p:cNvCxnSpPr>
          <p:nvPr/>
        </p:nvCxnSpPr>
        <p:spPr>
          <a:xfrm>
            <a:off x="6084168" y="1412776"/>
            <a:ext cx="108012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7164288" y="764704"/>
            <a:ext cx="1656184" cy="129614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иплом о высшем образовании 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11560" y="4221088"/>
            <a:ext cx="2520280" cy="136815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рвичная аккредитация специалистов </a:t>
            </a:r>
          </a:p>
          <a:p>
            <a:pPr algn="ctr"/>
            <a:r>
              <a:rPr lang="ru-RU" sz="1200" b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совокупность форм оценки квалификации лица, на предмет её соответствия требованиям профессионального стандарт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7" name="Прямая со стрелкой 26"/>
          <p:cNvCxnSpPr>
            <a:stCxn id="15" idx="0"/>
            <a:endCxn id="25" idx="2"/>
          </p:cNvCxnSpPr>
          <p:nvPr/>
        </p:nvCxnSpPr>
        <p:spPr>
          <a:xfrm flipV="1">
            <a:off x="900100" y="5589240"/>
            <a:ext cx="971600" cy="6926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40" name="Овал 39"/>
          <p:cNvSpPr/>
          <p:nvPr/>
        </p:nvSpPr>
        <p:spPr>
          <a:xfrm>
            <a:off x="5220072" y="1052736"/>
            <a:ext cx="864096" cy="72008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/>
              <a:t>сдал</a:t>
            </a:r>
            <a:endParaRPr lang="ru-RU" sz="1600" b="1" dirty="0"/>
          </a:p>
        </p:txBody>
      </p:sp>
      <p:cxnSp>
        <p:nvCxnSpPr>
          <p:cNvPr id="44" name="Прямая со стрелкой 43"/>
          <p:cNvCxnSpPr/>
          <p:nvPr/>
        </p:nvCxnSpPr>
        <p:spPr>
          <a:xfrm flipV="1">
            <a:off x="3059832" y="3573016"/>
            <a:ext cx="648072" cy="64807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3131840" y="2924944"/>
            <a:ext cx="1368152" cy="64807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Тестирование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8" name="Овал 57"/>
          <p:cNvSpPr/>
          <p:nvPr/>
        </p:nvSpPr>
        <p:spPr>
          <a:xfrm>
            <a:off x="3779912" y="3356992"/>
            <a:ext cx="864097" cy="576064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/>
              <a:t>сдал</a:t>
            </a:r>
            <a:endParaRPr lang="ru-RU" sz="1600" b="1" dirty="0"/>
          </a:p>
        </p:txBody>
      </p:sp>
      <p:cxnSp>
        <p:nvCxnSpPr>
          <p:cNvPr id="59" name="Прямая со стрелкой 58"/>
          <p:cNvCxnSpPr>
            <a:stCxn id="58" idx="6"/>
            <a:endCxn id="61" idx="1"/>
          </p:cNvCxnSpPr>
          <p:nvPr/>
        </p:nvCxnSpPr>
        <p:spPr>
          <a:xfrm flipV="1">
            <a:off x="4644009" y="3320988"/>
            <a:ext cx="576063" cy="32403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61" name="Прямоугольник 60"/>
          <p:cNvSpPr/>
          <p:nvPr/>
        </p:nvSpPr>
        <p:spPr>
          <a:xfrm>
            <a:off x="5220072" y="2924944"/>
            <a:ext cx="1800200" cy="79208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ценка практических навыков (умений) в симулированных условиях</a:t>
            </a:r>
            <a:endParaRPr lang="ru-RU" sz="12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7668344" y="2996952"/>
            <a:ext cx="1368152" cy="64807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шение ситуационных задач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67" name="Прямая со стрелкой 66"/>
          <p:cNvCxnSpPr>
            <a:stCxn id="98" idx="6"/>
            <a:endCxn id="63" idx="1"/>
          </p:cNvCxnSpPr>
          <p:nvPr/>
        </p:nvCxnSpPr>
        <p:spPr>
          <a:xfrm flipV="1">
            <a:off x="7308305" y="3320988"/>
            <a:ext cx="360039" cy="46805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107504" y="1412776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>
            <a:off x="107504" y="2132856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107504" y="2780928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/>
        </p:nvCxnSpPr>
        <p:spPr>
          <a:xfrm>
            <a:off x="107504" y="3429000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>
            <a:off x="107504" y="4077072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/>
        </p:nvCxnSpPr>
        <p:spPr>
          <a:xfrm>
            <a:off x="107504" y="4725144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2" name="Прямая со стрелкой 81"/>
          <p:cNvCxnSpPr/>
          <p:nvPr/>
        </p:nvCxnSpPr>
        <p:spPr>
          <a:xfrm>
            <a:off x="107504" y="5373216"/>
            <a:ext cx="0" cy="576064"/>
          </a:xfrm>
          <a:prstGeom prst="straightConnector1">
            <a:avLst/>
          </a:prstGeom>
          <a:ln w="22225">
            <a:tailEnd type="arrow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>
            <a:off x="395536" y="5445224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395536" y="2132856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>
            <a:off x="395536" y="2780928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>
            <a:off x="395536" y="3429000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/>
        </p:nvCxnSpPr>
        <p:spPr>
          <a:xfrm>
            <a:off x="395536" y="4077072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395536" y="4725144"/>
            <a:ext cx="0" cy="432048"/>
          </a:xfrm>
          <a:prstGeom prst="line">
            <a:avLst/>
          </a:prstGeom>
          <a:ln w="2222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0" name="Прямая со стрелкой 89"/>
          <p:cNvCxnSpPr/>
          <p:nvPr/>
        </p:nvCxnSpPr>
        <p:spPr>
          <a:xfrm flipV="1">
            <a:off x="395536" y="1340768"/>
            <a:ext cx="0" cy="504056"/>
          </a:xfrm>
          <a:prstGeom prst="straightConnector1">
            <a:avLst/>
          </a:prstGeom>
          <a:ln w="22225">
            <a:tailEnd type="arrow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>
            <a:off x="0" y="1772816"/>
            <a:ext cx="485518" cy="3687228"/>
          </a:xfrm>
          <a:prstGeom prst="rect">
            <a:avLst/>
          </a:prstGeom>
          <a:noFill/>
        </p:spPr>
        <p:txBody>
          <a:bodyPr vert="wordArtVert" wrap="none" rtlCol="0">
            <a:spAutoFit/>
          </a:bodyPr>
          <a:lstStyle/>
          <a:p>
            <a:r>
              <a:rPr lang="ru-RU" dirty="0" smtClean="0"/>
              <a:t>соответствие</a:t>
            </a:r>
            <a:endParaRPr lang="ru-RU" dirty="0"/>
          </a:p>
        </p:txBody>
      </p:sp>
      <p:sp>
        <p:nvSpPr>
          <p:cNvPr id="98" name="Овал 97"/>
          <p:cNvSpPr/>
          <p:nvPr/>
        </p:nvSpPr>
        <p:spPr>
          <a:xfrm>
            <a:off x="6444208" y="3501008"/>
            <a:ext cx="864097" cy="576064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/>
              <a:t>сдал</a:t>
            </a:r>
            <a:endParaRPr lang="ru-RU" sz="1600" b="1" dirty="0"/>
          </a:p>
        </p:txBody>
      </p:sp>
      <p:sp>
        <p:nvSpPr>
          <p:cNvPr id="101" name="Овал 100"/>
          <p:cNvSpPr/>
          <p:nvPr/>
        </p:nvSpPr>
        <p:spPr>
          <a:xfrm>
            <a:off x="8279903" y="3573016"/>
            <a:ext cx="864097" cy="576064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/>
              <a:t>сдал</a:t>
            </a:r>
            <a:endParaRPr lang="ru-RU" sz="1600" b="1" dirty="0"/>
          </a:p>
        </p:txBody>
      </p:sp>
      <p:sp>
        <p:nvSpPr>
          <p:cNvPr id="123" name="Прямоугольник 122"/>
          <p:cNvSpPr/>
          <p:nvPr/>
        </p:nvSpPr>
        <p:spPr>
          <a:xfrm>
            <a:off x="3995936" y="4581128"/>
            <a:ext cx="3240360" cy="122413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фессиональная деятельность:</a:t>
            </a:r>
          </a:p>
          <a:p>
            <a:pPr algn="ctr">
              <a:buFont typeface="Arial" pitchFamily="34" charset="0"/>
              <a:buChar char="•"/>
            </a:pPr>
            <a:r>
              <a:rPr lang="ru-RU" sz="12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рач-терапевт участковый;</a:t>
            </a:r>
          </a:p>
          <a:p>
            <a:pPr algn="ctr">
              <a:buFont typeface="Arial" pitchFamily="34" charset="0"/>
              <a:buChar char="•"/>
            </a:pPr>
            <a:r>
              <a:rPr lang="ru-RU" sz="12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рач-педиатр участковый;</a:t>
            </a:r>
          </a:p>
          <a:p>
            <a:pPr algn="ctr">
              <a:buFont typeface="Arial" pitchFamily="34" charset="0"/>
              <a:buChar char="•"/>
            </a:pPr>
            <a:r>
              <a:rPr lang="ru-RU" sz="12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визор;</a:t>
            </a:r>
          </a:p>
          <a:p>
            <a:pPr algn="ctr">
              <a:buFont typeface="Arial" pitchFamily="34" charset="0"/>
              <a:buChar char="•"/>
            </a:pPr>
            <a:r>
              <a:rPr lang="ru-RU" sz="12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рач-стоматолог</a:t>
            </a:r>
            <a:endParaRPr lang="ru-RU" sz="1200" i="1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32" name="Прямая со стрелкой 131"/>
          <p:cNvCxnSpPr>
            <a:stCxn id="101" idx="4"/>
          </p:cNvCxnSpPr>
          <p:nvPr/>
        </p:nvCxnSpPr>
        <p:spPr>
          <a:xfrm flipH="1">
            <a:off x="7236296" y="4149080"/>
            <a:ext cx="1475656" cy="432048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3" name="Прямая со стрелкой 172"/>
          <p:cNvCxnSpPr>
            <a:endCxn id="176" idx="1"/>
          </p:cNvCxnSpPr>
          <p:nvPr/>
        </p:nvCxnSpPr>
        <p:spPr>
          <a:xfrm>
            <a:off x="7236296" y="5697252"/>
            <a:ext cx="576064" cy="3600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76" name="Прямоугольник 175"/>
          <p:cNvSpPr/>
          <p:nvPr/>
        </p:nvSpPr>
        <p:spPr>
          <a:xfrm>
            <a:off x="7812360" y="5445224"/>
            <a:ext cx="1331640" cy="57606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прерывное медицинское образование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2" name="Группа 31"/>
          <p:cNvGrpSpPr>
            <a:grpSpLocks/>
          </p:cNvGrpSpPr>
          <p:nvPr/>
        </p:nvGrpSpPr>
        <p:grpSpPr bwMode="auto">
          <a:xfrm>
            <a:off x="0" y="404664"/>
            <a:ext cx="9164638" cy="155575"/>
            <a:chOff x="-22358" y="784226"/>
            <a:chExt cx="9928358" cy="155575"/>
          </a:xfrm>
          <a:solidFill>
            <a:schemeClr val="tx2">
              <a:lumMod val="75000"/>
            </a:schemeClr>
          </a:solidFill>
        </p:grpSpPr>
        <p:sp>
          <p:nvSpPr>
            <p:cNvPr id="45" name="Прямоугольник 44"/>
            <p:cNvSpPr/>
            <p:nvPr/>
          </p:nvSpPr>
          <p:spPr>
            <a:xfrm>
              <a:off x="-22358" y="784226"/>
              <a:ext cx="992835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221854" y="784226"/>
              <a:ext cx="362876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689637" y="784226"/>
              <a:ext cx="180578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870214" y="784226"/>
              <a:ext cx="650081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15994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1764506" y="784226"/>
              <a:ext cx="180579" cy="1555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52" name="Picture 2" descr="C:\Users\KiselevaNB\Videos\Герб Минздрв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2"/>
            <a:ext cx="471530" cy="46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Номер слайда 64"/>
          <p:cNvSpPr>
            <a:spLocks noGrp="1"/>
          </p:cNvSpPr>
          <p:nvPr>
            <p:ph type="sldNum" sz="quarter" idx="12"/>
          </p:nvPr>
        </p:nvSpPr>
        <p:spPr>
          <a:xfrm>
            <a:off x="8557592" y="6492875"/>
            <a:ext cx="586408" cy="365125"/>
          </a:xfrm>
        </p:spPr>
        <p:txBody>
          <a:bodyPr/>
          <a:lstStyle/>
          <a:p>
            <a:pPr>
              <a:defRPr/>
            </a:pPr>
            <a:fld id="{9FB529F0-CFB5-4488-81D0-0CCFD6778A02}" type="slidenum">
              <a:rPr lang="ru-RU" sz="1400" b="1" smtClean="0">
                <a:solidFill>
                  <a:schemeClr val="tx1"/>
                </a:solidFill>
              </a:rPr>
              <a:pPr>
                <a:defRPr/>
              </a:pPr>
              <a:t>9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131840" y="2204864"/>
            <a:ext cx="1368152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олее 3 тыс. тестов:</a:t>
            </a:r>
          </a:p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60 вопросов – 60 минут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5148064" y="2276872"/>
            <a:ext cx="1872208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5 станций, </a:t>
            </a:r>
          </a:p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0 минут станция (245 заданий)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7236296" y="2276872"/>
            <a:ext cx="1800200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3 ситуационных кейса</a:t>
            </a:r>
          </a:p>
          <a:p>
            <a:pPr algn="ctr">
              <a:lnSpc>
                <a:spcPts val="1400"/>
              </a:lnSpc>
            </a:pPr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5 вопросов </a:t>
            </a:r>
          </a:p>
          <a:p>
            <a:pPr algn="ctr">
              <a:lnSpc>
                <a:spcPts val="1400"/>
              </a:lnSpc>
            </a:pPr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60 кейсов)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8686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mjjhnY0uHW1jgyd6x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WG4nfO0Gb1fRhGdOJd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69</TotalTime>
  <Words>3737</Words>
  <Application>Microsoft Office PowerPoint</Application>
  <PresentationFormat>Экран (4:3)</PresentationFormat>
  <Paragraphs>632</Paragraphs>
  <Slides>28</Slides>
  <Notes>7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29" baseType="lpstr">
      <vt:lpstr>Тема Office</vt:lpstr>
      <vt:lpstr>Презентация PowerPoint</vt:lpstr>
      <vt:lpstr>Презентация PowerPoint</vt:lpstr>
      <vt:lpstr>ДОПУСК К ПРОФЕССИОНАЛЬНОЙ ДЕЯТЕЛЬНОСТИ ЧЕРЕЗ СЕРТИФИКАЦИЮ</vt:lpstr>
      <vt:lpstr>ДОПУСК К ПРОФЕССИОНАЛЬНОЙ ДЕЯТЕЛЬНОСТИ  ЧЕРЕЗ ПРОЦЕДУРУ АККРЕДИТ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ОПУСК К ПРОФЕССИОНАЛЬНОЙ ДЕЯТЕЛЬНОСТИ  ЧЕРЕЗ ПРОЦЕДУРУ АККРЕДИТАЦИИ</vt:lpstr>
      <vt:lpstr>ФОРМИРОВАНИЕ ЭФФЕКТИВНОЙ СИСТЕМЫ  НЕПРЕРЫВНОГО ПРОФЕССИОНАЛЬНОГО ОБРАЗОВАНИЯ </vt:lpstr>
      <vt:lpstr>РОЛЬ ПРОФЕССИОНАЛЬНЫХ НЕКОММЕРЧЕСКИХ ОРГАНИЗАЦИЙ  В НЕПРЕРЫВНОМ ОБРАЗОВАНИИ </vt:lpstr>
      <vt:lpstr>ФУНКЦИИ ПРОФЕССИОНАЛЬНЫХ НЕКОММЕРЧЕСКИХ ОРГАНИЗАЦИЙ  В РЕАЛИЗАЦИИ НЕПРЕРЫВНОГО ОБРАЗОВАНИЯ </vt:lpstr>
      <vt:lpstr>РОЛЬ ПРОФЕССИОНАЛЬНЫХ МЕДИЦИНСКИХ ОБЪЕДИНЕНИЙ В СИСТЕМЕ НЕПРЕРЫВНОГО ПРОФЕССИОНАЛЬНОГО ОБРАЗОВАНИЯ </vt:lpstr>
      <vt:lpstr>ПЕРИОД ВХОЖДЕНИЯ В  СИСТЕМУ НЕПРЕРЫВНОГО МЕДИЦИНСКОГО И ФАРМАЦЕВТИЧЕСКОГО ОБРАЗОВАНИЯ (2016 - 2020 ГГ)</vt:lpstr>
      <vt:lpstr>ПЯТИЛЕТНИЙ ПЕРИОД ОБУЧЕНИЯ В РАМКАХ НЕПРЕРЫВНОГО ОБРАЗОВАНИЯ</vt:lpstr>
      <vt:lpstr>edu.rosminzdrav.ru</vt:lpstr>
      <vt:lpstr>КОНТЕНТ EDU.ROSMINZDRAV.RU, В РАЗРАБОТКЕ (РЕАЛИЗАЦИИ) КОТОРОГО УЧАСТВУЮТ ПРОФЕССИОНАЛЬНЫЕ НЕКОММЕРЧЕСКИЕ ОРГАНИЗАЦИИ  </vt:lpstr>
      <vt:lpstr>РЕАЛИЗАЦИЯ ОЧНЫХ ОБРАЗОВАТЕЛЬНЫХ МЕРОПРИЯТИЙ</vt:lpstr>
      <vt:lpstr>РАЗРАБОТКА ИНТЕРАКТИВНЫХ ДИСТАНЦИОННЫХ МОДУЛЕЙ</vt:lpstr>
      <vt:lpstr>ОБРАЗОВАТЕЛЬНЫЕ МЕРОПРИЯТИЯ EDU.ROSMINZDRAV.RU, ДЛЯ СПЕЦИАЛИСТОВ, ВСТУПАЮЩИХ В НЕПРЕРЫВНОЕ ОБРАЗОВАНИЕ С ОКТЯБРЯ 2016 ГОД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Чугаев Дмитрий Владиславович</dc:creator>
  <cp:lastModifiedBy>Presentation</cp:lastModifiedBy>
  <cp:revision>226</cp:revision>
  <cp:lastPrinted>2016-09-27T22:44:39Z</cp:lastPrinted>
  <dcterms:created xsi:type="dcterms:W3CDTF">2015-10-29T08:03:16Z</dcterms:created>
  <dcterms:modified xsi:type="dcterms:W3CDTF">2016-09-28T06:34:22Z</dcterms:modified>
</cp:coreProperties>
</file>